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emf" ContentType="image/x-emf"/>
  <Default Extension="jpeg" ContentType="image/jpeg"/>
  <Override PartName="/ppt/tags/tag2.xml" ContentType="application/vnd.openxmlformats-officedocument.presentationml.tags+xml"/>
  <Override PartName="/ppt/tags/tag3.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0.xml" ContentType="application/vnd.openxmlformats-officedocument.presentationml.slideLayout+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5" r:id="rId1"/>
  </p:sldMasterIdLst>
  <p:notesMasterIdLst>
    <p:notesMasterId r:id="rId16"/>
  </p:notesMasterIdLst>
  <p:handoutMasterIdLst>
    <p:handoutMasterId r:id="rId17"/>
  </p:handoutMasterIdLst>
  <p:sldIdLst>
    <p:sldId id="257" r:id="rId2"/>
    <p:sldId id="258" r:id="rId3"/>
    <p:sldId id="259" r:id="rId4"/>
    <p:sldId id="260" r:id="rId5"/>
    <p:sldId id="261" r:id="rId6"/>
    <p:sldId id="262" r:id="rId7"/>
    <p:sldId id="263" r:id="rId8"/>
    <p:sldId id="264" r:id="rId9"/>
    <p:sldId id="265" r:id="rId10"/>
    <p:sldId id="266" r:id="rId11"/>
    <p:sldId id="267" r:id="rId12"/>
    <p:sldId id="268" r:id="rId13"/>
    <p:sldId id="269" r:id="rId14"/>
    <p:sldId id="270" r:id="rId15"/>
  </p:sldIdLst>
  <p:sldSz cx="9144000" cy="6858000" type="screen4x3"/>
  <p:notesSz cx="6858000" cy="91440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162">
          <p15:clr>
            <a:srgbClr val="A4A3A4"/>
          </p15:clr>
        </p15:guide>
        <p15:guide id="2" orient="horz" pos="3412">
          <p15:clr>
            <a:srgbClr val="A4A3A4"/>
          </p15:clr>
        </p15:guide>
        <p15:guide id="3" orient="horz" pos="2264">
          <p15:clr>
            <a:srgbClr val="A4A3A4"/>
          </p15:clr>
        </p15:guide>
        <p15:guide id="4" orient="horz" pos="165">
          <p15:clr>
            <a:srgbClr val="A4A3A4"/>
          </p15:clr>
        </p15:guide>
        <p15:guide id="5" orient="horz" pos="2292">
          <p15:clr>
            <a:srgbClr val="A4A3A4"/>
          </p15:clr>
        </p15:guide>
        <p15:guide id="6" pos="756">
          <p15:clr>
            <a:srgbClr val="A4A3A4"/>
          </p15:clr>
        </p15:guide>
        <p15:guide id="7" pos="532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876AF"/>
    <a:srgbClr val="133C75"/>
    <a:srgbClr val="BD2B0B"/>
    <a:srgbClr val="7ABFC0"/>
    <a:srgbClr val="CAEBEA"/>
    <a:srgbClr val="55DD61"/>
    <a:srgbClr val="3AAFC3"/>
    <a:srgbClr val="FFAA00"/>
    <a:srgbClr val="ABCE36"/>
    <a:srgbClr val="00241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C2FFA5D-87B4-456A-9821-1D502468CF0F}" styleName="Style à thème 1 - Accentuation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38B1855-1B75-4FBE-930C-398BA8C253C6}" styleName="Style à thème 2 - Accentuation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46F890A9-2807-4EBB-B81D-B2AA78EC7F39}" styleName="Style foncé 2 - Accentuation 5/Accentuation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Style foncé 2 - Accentuation 1/Accentuation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D113A9D2-9D6B-4929-AA2D-F23B5EE8CBE7}" styleName="Style à thème 2 - Accentuation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Style léger 2 - Accentuation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8" autoAdjust="0"/>
    <p:restoredTop sz="94692" autoAdjust="0"/>
  </p:normalViewPr>
  <p:slideViewPr>
    <p:cSldViewPr snapToObjects="1" showGuides="1">
      <p:cViewPr varScale="1">
        <p:scale>
          <a:sx n="102" d="100"/>
          <a:sy n="102" d="100"/>
        </p:scale>
        <p:origin x="-96" y="-156"/>
      </p:cViewPr>
      <p:guideLst>
        <p:guide orient="horz" pos="1162"/>
        <p:guide orient="horz" pos="3412"/>
        <p:guide orient="horz" pos="2264"/>
        <p:guide orient="horz" pos="165"/>
        <p:guide orient="horz" pos="2292"/>
        <p:guide pos="756"/>
        <p:guide pos="532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8026C1A-E9C0-3649-8DE0-0F721770D521}" type="datetimeFigureOut">
              <a:rPr lang="fr-FR" smtClean="0"/>
              <a:pPr/>
              <a:t>22/09/2017</a:t>
            </a:fld>
            <a:endParaRPr lang="fr-F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56351CB-C7E3-8F4F-AA6E-DB407BF173DE}" type="slidenum">
              <a:rPr lang="fr-FR" smtClean="0"/>
              <a:pPr/>
              <a:t>‹N°›</a:t>
            </a:fld>
            <a:endParaRPr lang="fr-FR"/>
          </a:p>
        </p:txBody>
      </p:sp>
    </p:spTree>
    <p:extLst>
      <p:ext uri="{BB962C8B-B14F-4D97-AF65-F5344CB8AC3E}">
        <p14:creationId xmlns:p14="http://schemas.microsoft.com/office/powerpoint/2010/main" xmlns="" val="415620760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7B6820A-C1B1-9944-A68D-DA5B884778EE}" type="datetimeFigureOut">
              <a:rPr lang="fr-FR" smtClean="0"/>
              <a:pPr/>
              <a:t>22/09/2017</a:t>
            </a:fld>
            <a:endParaRPr lang="fr-FR"/>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3EBCA58-F001-2A42-AB6A-B366B18E47A3}" type="slidenum">
              <a:rPr lang="fr-FR" smtClean="0"/>
              <a:pPr/>
              <a:t>‹N°›</a:t>
            </a:fld>
            <a:endParaRPr lang="fr-FR"/>
          </a:p>
        </p:txBody>
      </p:sp>
    </p:spTree>
    <p:extLst>
      <p:ext uri="{BB962C8B-B14F-4D97-AF65-F5344CB8AC3E}">
        <p14:creationId xmlns:p14="http://schemas.microsoft.com/office/powerpoint/2010/main" xmlns="" val="2272108639"/>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lgn="l" rtl="0"/>
              <a:t>2</a:t>
            </a:fld>
            <a:endParaRPr lang="en" altLang="fr-FR"/>
          </a:p>
        </p:txBody>
      </p:sp>
    </p:spTree>
    <p:extLst>
      <p:ext uri="{BB962C8B-B14F-4D97-AF65-F5344CB8AC3E}">
        <p14:creationId xmlns:p14="http://schemas.microsoft.com/office/powerpoint/2010/main" xmlns="" val="1860600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l" rtl="0"/>
            <a:r>
              <a:rPr lang="en" sz="1200" b="1" i="0" u="none" kern="1200" baseline="0">
                <a:solidFill>
                  <a:schemeClr val="tx1"/>
                </a:solidFill>
                <a:effectLst/>
                <a:latin typeface="+mn-lt"/>
                <a:ea typeface="+mn-ea"/>
                <a:cs typeface="+mn-cs"/>
              </a:rPr>
              <a:t>The aim is to arrive at the idea that behavior is an observable, tangible action, and not an idea or an intention…</a:t>
            </a:r>
          </a:p>
          <a:p>
            <a:pPr algn="l" rtl="0"/>
            <a:r>
              <a:rPr lang="en" sz="1200" b="1" i="0" u="none" kern="1200" baseline="0">
                <a:solidFill>
                  <a:schemeClr val="tx1"/>
                </a:solidFill>
                <a:effectLst/>
                <a:latin typeface="+mn-lt"/>
                <a:ea typeface="+mn-ea"/>
                <a:cs typeface="+mn-cs"/>
              </a:rPr>
              <a:t>If needed, steer participants by asking them to compare behavior and intention.</a:t>
            </a:r>
          </a:p>
          <a:p>
            <a:endParaRPr lang="en"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lgn="l" rtl="0"/>
              <a:t>5</a:t>
            </a:fld>
            <a:endParaRPr lang="en" altLang="fr-FR"/>
          </a:p>
        </p:txBody>
      </p:sp>
    </p:spTree>
    <p:extLst>
      <p:ext uri="{BB962C8B-B14F-4D97-AF65-F5344CB8AC3E}">
        <p14:creationId xmlns:p14="http://schemas.microsoft.com/office/powerpoint/2010/main" xmlns="" val="4356688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 sz="1200" b="0" i="0" u="none" kern="1200" baseline="0">
                <a:solidFill>
                  <a:schemeClr val="tx1"/>
                </a:solidFill>
                <a:effectLst/>
                <a:latin typeface="+mn-lt"/>
                <a:ea typeface="+mn-ea"/>
                <a:cs typeface="+mn-cs"/>
              </a:rPr>
              <a:t>Safe behaviors are not so easy to adopt. Sometimes, we need to change our practices, to learn, to evolve… that is why it is all the more important to recognize them, to value them as a way to be closer to colleagues. I would like you to look together at the way in which good and bad behaviors are dealt with at Total.</a:t>
            </a:r>
          </a:p>
          <a:p>
            <a:endParaRPr lang="en"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lgn="l" rtl="0"/>
              <a:t>6</a:t>
            </a:fld>
            <a:endParaRPr lang="en" altLang="fr-FR"/>
          </a:p>
        </p:txBody>
      </p:sp>
    </p:spTree>
    <p:extLst>
      <p:ext uri="{BB962C8B-B14F-4D97-AF65-F5344CB8AC3E}">
        <p14:creationId xmlns:p14="http://schemas.microsoft.com/office/powerpoint/2010/main" xmlns="" val="15138025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l" rtl="0"/>
            <a:r>
              <a:rPr lang="en" b="0" i="0" u="none" baseline="0"/>
              <a:t>These behaviors are also expected of our contractors.</a:t>
            </a:r>
            <a:endParaRPr lang="en"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lgn="l" rtl="0"/>
              <a:t>9</a:t>
            </a:fld>
            <a:endParaRPr lang="en" altLang="fr-FR"/>
          </a:p>
        </p:txBody>
      </p:sp>
    </p:spTree>
    <p:extLst>
      <p:ext uri="{BB962C8B-B14F-4D97-AF65-F5344CB8AC3E}">
        <p14:creationId xmlns:p14="http://schemas.microsoft.com/office/powerpoint/2010/main" xmlns="" val="360139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en"/>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lgn="l" rtl="0"/>
              <a:t>11</a:t>
            </a:fld>
            <a:endParaRPr lang="en" altLang="fr-FR"/>
          </a:p>
        </p:txBody>
      </p:sp>
    </p:spTree>
    <p:extLst>
      <p:ext uri="{BB962C8B-B14F-4D97-AF65-F5344CB8AC3E}">
        <p14:creationId xmlns:p14="http://schemas.microsoft.com/office/powerpoint/2010/main" xmlns="" val="15057043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l" rtl="0"/>
            <a:r>
              <a:rPr lang="en" b="0" i="0" u="none" baseline="0"/>
              <a:t>This flow diagram shows the logic analysis of a deviation to decide whether it is a fault or an error.</a:t>
            </a:r>
            <a:endParaRPr lang="en"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lgn="l" rtl="0"/>
              <a:t>12</a:t>
            </a:fld>
            <a:endParaRPr lang="en" altLang="fr-FR"/>
          </a:p>
        </p:txBody>
      </p:sp>
    </p:spTree>
    <p:extLst>
      <p:ext uri="{BB962C8B-B14F-4D97-AF65-F5344CB8AC3E}">
        <p14:creationId xmlns:p14="http://schemas.microsoft.com/office/powerpoint/2010/main" xmlns="" val="12091959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algn="l" rtl="0"/>
            <a:r>
              <a:rPr lang="en" b="0" i="0" u="none" baseline="0"/>
              <a:t>The stop card is, of course, an essential tool in reacting to the deviation.</a:t>
            </a:r>
            <a:endParaRPr lang="en" dirty="0"/>
          </a:p>
        </p:txBody>
      </p:sp>
      <p:sp>
        <p:nvSpPr>
          <p:cNvPr id="4" name="Espace réservé du numéro de diapositive 3"/>
          <p:cNvSpPr>
            <a:spLocks noGrp="1"/>
          </p:cNvSpPr>
          <p:nvPr>
            <p:ph type="sldNum" sz="quarter" idx="10"/>
          </p:nvPr>
        </p:nvSpPr>
        <p:spPr/>
        <p:txBody>
          <a:bodyPr/>
          <a:lstStyle/>
          <a:p>
            <a:pPr algn="l" rtl="0"/>
            <a:fld id="{5F77C4B3-80C1-46C4-8F8A-F343DB22774B}" type="slidenum">
              <a:rPr/>
              <a:pPr algn="l" rtl="0"/>
              <a:t>13</a:t>
            </a:fld>
            <a:endParaRPr lang="en" altLang="fr-FR"/>
          </a:p>
        </p:txBody>
      </p:sp>
    </p:spTree>
    <p:extLst>
      <p:ext uri="{BB962C8B-B14F-4D97-AF65-F5344CB8AC3E}">
        <p14:creationId xmlns:p14="http://schemas.microsoft.com/office/powerpoint/2010/main" xmlns="" val="13118938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2" name="Rectangle 1"/>
          <p:cNvSpPr/>
          <p:nvPr userDrawn="1"/>
        </p:nvSpPr>
        <p:spPr>
          <a:xfrm>
            <a:off x="-2433" y="0"/>
            <a:ext cx="9146433"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fr-FR"/>
          </a:p>
        </p:txBody>
      </p:sp>
      <p:sp>
        <p:nvSpPr>
          <p:cNvPr id="5" name="Titre 4"/>
          <p:cNvSpPr>
            <a:spLocks noGrp="1"/>
          </p:cNvSpPr>
          <p:nvPr>
            <p:ph type="title"/>
          </p:nvPr>
        </p:nvSpPr>
        <p:spPr>
          <a:xfrm>
            <a:off x="1188000" y="2106000"/>
            <a:ext cx="7276629" cy="1487487"/>
          </a:xfrm>
        </p:spPr>
        <p:txBody>
          <a:bodyPr lIns="0" rIns="0" anchor="b">
            <a:noAutofit/>
          </a:bodyPr>
          <a:lstStyle>
            <a:lvl1pPr>
              <a:defRPr sz="3200">
                <a:solidFill>
                  <a:schemeClr val="bg1"/>
                </a:solidFill>
              </a:defRPr>
            </a:lvl1pPr>
          </a:lstStyle>
          <a:p>
            <a:r>
              <a:rPr lang="fr-FR" noProof="0" smtClean="0"/>
              <a:t>Cliquez pour modifier le style du titre</a:t>
            </a:r>
            <a:endParaRPr lang="fr-FR" noProof="0" dirty="0"/>
          </a:p>
        </p:txBody>
      </p:sp>
      <p:sp>
        <p:nvSpPr>
          <p:cNvPr id="16" name="Espace réservé du texte 15"/>
          <p:cNvSpPr>
            <a:spLocks noGrp="1"/>
          </p:cNvSpPr>
          <p:nvPr>
            <p:ph type="body" sz="quarter" idx="10" hasCustomPrompt="1"/>
          </p:nvPr>
        </p:nvSpPr>
        <p:spPr>
          <a:xfrm>
            <a:off x="1188000" y="3639600"/>
            <a:ext cx="7276629" cy="1778000"/>
          </a:xfrm>
        </p:spPr>
        <p:txBody>
          <a:bodyPr lIns="0" rIns="0">
            <a:noAutofit/>
          </a:bodyPr>
          <a:lstStyle>
            <a:lvl1pPr marL="0" indent="0">
              <a:buNone/>
              <a:defRPr>
                <a:solidFill>
                  <a:schemeClr val="bg1"/>
                </a:solidFill>
              </a:defRPr>
            </a:lvl1pPr>
          </a:lstStyle>
          <a:p>
            <a:pPr lvl="0"/>
            <a:r>
              <a:rPr lang="fr-FR" noProof="0" dirty="0" smtClean="0"/>
              <a:t>Cliquez pour modifier les styles des sous-titres du masque</a:t>
            </a:r>
          </a:p>
        </p:txBody>
      </p:sp>
      <p:sp>
        <p:nvSpPr>
          <p:cNvPr id="7" name="Rectangle 6"/>
          <p:cNvSpPr/>
          <p:nvPr userDrawn="1"/>
        </p:nvSpPr>
        <p:spPr>
          <a:xfrm>
            <a:off x="0" y="6750000"/>
            <a:ext cx="9144000" cy="108000"/>
          </a:xfrm>
          <a:prstGeom prst="rect">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pic>
        <p:nvPicPr>
          <p:cNvPr id="8" name="Image 7" descr="TOTAL_LOGO_bandeau_01_haut_T_RGB.png"/>
          <p:cNvPicPr>
            <a:picLocks noChangeAspect="1"/>
          </p:cNvPicPr>
          <p:nvPr userDrawn="1"/>
        </p:nvPicPr>
        <p:blipFill>
          <a:blip r:embed="rId2"/>
          <a:stretch>
            <a:fillRect/>
          </a:stretch>
        </p:blipFill>
        <p:spPr>
          <a:xfrm>
            <a:off x="1" y="363225"/>
            <a:ext cx="6084167" cy="860932"/>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ans contenu">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r>
              <a:rPr lang="en-US" noProof="0" smtClean="0"/>
              <a:t>Presentation title - Place and Country - Date Month Day Year</a:t>
            </a:r>
            <a:endParaRPr lang="fr-FR" noProof="0"/>
          </a:p>
        </p:txBody>
      </p:sp>
      <p:sp>
        <p:nvSpPr>
          <p:cNvPr id="4" name="Espace réservé du numéro de diapositive 3"/>
          <p:cNvSpPr>
            <a:spLocks noGrp="1"/>
          </p:cNvSpPr>
          <p:nvPr>
            <p:ph type="sldNum" sz="quarter" idx="11"/>
          </p:nvPr>
        </p:nvSpPr>
        <p:spPr/>
        <p:txBody>
          <a:bodyPr/>
          <a:lstStyle/>
          <a:p>
            <a:fld id="{21F90BE8-D879-4F46-ACF9-7BCC67DCFB75}" type="slidenum">
              <a:rPr lang="fr-FR" smtClean="0"/>
              <a:pPr/>
              <a:t>‹N°›</a:t>
            </a:fld>
            <a:endParaRPr lang="fr-F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noProof="0" smtClean="0"/>
              <a:t>Cliquez pour modifier le style du titre</a:t>
            </a:r>
            <a:endParaRPr lang="fr-FR" noProof="0" dirty="0"/>
          </a:p>
        </p:txBody>
      </p:sp>
      <p:sp>
        <p:nvSpPr>
          <p:cNvPr id="3" name="Espace réservé du pied de page 2"/>
          <p:cNvSpPr>
            <a:spLocks noGrp="1"/>
          </p:cNvSpPr>
          <p:nvPr>
            <p:ph type="ftr" sz="quarter" idx="10"/>
          </p:nvPr>
        </p:nvSpPr>
        <p:spPr/>
        <p:txBody>
          <a:bodyPr/>
          <a:lstStyle/>
          <a:p>
            <a:r>
              <a:rPr lang="en-US" noProof="0" smtClean="0"/>
              <a:t>Presentation title - Place and Country - Date Month Day Year</a:t>
            </a:r>
            <a:endParaRPr lang="fr-FR" noProof="0"/>
          </a:p>
        </p:txBody>
      </p:sp>
      <p:sp>
        <p:nvSpPr>
          <p:cNvPr id="4" name="Espace réservé du numéro de diapositive 3"/>
          <p:cNvSpPr>
            <a:spLocks noGrp="1"/>
          </p:cNvSpPr>
          <p:nvPr>
            <p:ph type="sldNum" sz="quarter" idx="11"/>
          </p:nvPr>
        </p:nvSpPr>
        <p:spPr/>
        <p:txBody>
          <a:bodyPr/>
          <a:lstStyle/>
          <a:p>
            <a:fld id="{21F90BE8-D879-4F46-ACF9-7BCC67DCFB75}" type="slidenum">
              <a:rPr lang="fr-FR" smtClean="0"/>
              <a:pPr/>
              <a:t>‹N°›</a:t>
            </a:fld>
            <a:endParaRPr lang="fr-FR" dirty="0"/>
          </a:p>
        </p:txBody>
      </p:sp>
      <p:sp>
        <p:nvSpPr>
          <p:cNvPr id="6" name="Espace réservé du texte 5"/>
          <p:cNvSpPr>
            <a:spLocks noGrp="1"/>
          </p:cNvSpPr>
          <p:nvPr>
            <p:ph type="body" sz="quarter" idx="12"/>
          </p:nvPr>
        </p:nvSpPr>
        <p:spPr>
          <a:xfrm>
            <a:off x="457200" y="1125538"/>
            <a:ext cx="8218800" cy="5040311"/>
          </a:xfrm>
        </p:spPr>
        <p:txBody>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Tree>
    <p:extLst>
      <p:ext uri="{BB962C8B-B14F-4D97-AF65-F5344CB8AC3E}">
        <p14:creationId xmlns:p14="http://schemas.microsoft.com/office/powerpoint/2010/main" xmlns="" val="36581845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apositiv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2493952"/>
            <a:ext cx="7772400" cy="1362075"/>
          </a:xfrm>
        </p:spPr>
        <p:txBody>
          <a:bodyPr anchor="ctr">
            <a:noAutofit/>
          </a:bodyPr>
          <a:lstStyle>
            <a:lvl1pPr algn="l">
              <a:defRPr sz="3200" b="1" cap="all">
                <a:solidFill>
                  <a:schemeClr val="accent3">
                    <a:lumMod val="75000"/>
                  </a:schemeClr>
                </a:solidFill>
              </a:defRPr>
            </a:lvl1pPr>
          </a:lstStyle>
          <a:p>
            <a:r>
              <a:rPr lang="fr-FR" noProof="0" smtClean="0"/>
              <a:t>Cliquez pour modifier le style du titre</a:t>
            </a:r>
            <a:endParaRPr lang="fr-FR" noProof="0" dirty="0"/>
          </a:p>
        </p:txBody>
      </p:sp>
      <p:sp>
        <p:nvSpPr>
          <p:cNvPr id="5" name="Espace réservé du pied de page 4"/>
          <p:cNvSpPr>
            <a:spLocks noGrp="1"/>
          </p:cNvSpPr>
          <p:nvPr>
            <p:ph type="ftr" sz="quarter" idx="11"/>
          </p:nvPr>
        </p:nvSpPr>
        <p:spPr/>
        <p:txBody>
          <a:bodyPr/>
          <a:lstStyle/>
          <a:p>
            <a:r>
              <a:rPr lang="en-US" noProof="0" smtClean="0"/>
              <a:t>Presentation title - Place and Country - Date Month Day Year</a:t>
            </a:r>
            <a:endParaRPr lang="fr-FR" noProof="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
        <p:nvSpPr>
          <p:cNvPr id="7" name="Rectangle 6"/>
          <p:cNvSpPr/>
          <p:nvPr userDrawn="1"/>
        </p:nvSpPr>
        <p:spPr>
          <a:xfrm>
            <a:off x="8928000" y="0"/>
            <a:ext cx="216000"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latin typeface="Helvetica"/>
              <a:cs typeface="Helvetica"/>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noProof="0" smtClean="0"/>
              <a:t>Cliquez pour modifier le style du titre</a:t>
            </a:r>
            <a:endParaRPr lang="fr-FR" noProof="0" dirty="0"/>
          </a:p>
        </p:txBody>
      </p:sp>
      <p:sp>
        <p:nvSpPr>
          <p:cNvPr id="3" name="Espace réservé du contenu 2"/>
          <p:cNvSpPr>
            <a:spLocks noGrp="1"/>
          </p:cNvSpPr>
          <p:nvPr>
            <p:ph sz="half" idx="1"/>
          </p:nvPr>
        </p:nvSpPr>
        <p:spPr>
          <a:xfrm>
            <a:off x="457200" y="1125538"/>
            <a:ext cx="4038600" cy="5000625"/>
          </a:xfrm>
          <a:prstGeom prst="rect">
            <a:avLst/>
          </a:prstGeom>
        </p:spPr>
        <p:txBody>
          <a:bodyPr/>
          <a:lstStyle>
            <a:lvl1pPr>
              <a:defRPr sz="1600"/>
            </a:lvl1pPr>
            <a:lvl2pPr>
              <a:defRPr sz="1400"/>
            </a:lvl2pPr>
            <a:lvl3pPr>
              <a:defRPr sz="1200"/>
            </a:lvl3pPr>
            <a:lvl4pPr marL="1080000" indent="-180000">
              <a:defRPr sz="1200"/>
            </a:lvl4pPr>
            <a:lvl5pPr>
              <a:defRPr sz="1800"/>
            </a:lvl5pPr>
            <a:lvl6pPr>
              <a:defRPr sz="1800"/>
            </a:lvl6pPr>
            <a:lvl7pPr>
              <a:defRPr sz="1800"/>
            </a:lvl7pPr>
            <a:lvl8pPr>
              <a:defRPr sz="1800"/>
            </a:lvl8pPr>
            <a:lvl9pPr>
              <a:defRPr sz="18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4" name="Espace réservé du contenu 3"/>
          <p:cNvSpPr>
            <a:spLocks noGrp="1"/>
          </p:cNvSpPr>
          <p:nvPr>
            <p:ph sz="half" idx="2"/>
          </p:nvPr>
        </p:nvSpPr>
        <p:spPr>
          <a:xfrm>
            <a:off x="4648200" y="1125538"/>
            <a:ext cx="4038600" cy="5000625"/>
          </a:xfrm>
          <a:prstGeom prst="rect">
            <a:avLst/>
          </a:prstGeom>
        </p:spPr>
        <p:txBody>
          <a:bodyPr/>
          <a:lstStyle>
            <a:lvl1pPr>
              <a:defRPr sz="1600"/>
            </a:lvl1pPr>
            <a:lvl2pPr>
              <a:defRPr sz="1400"/>
            </a:lvl2pPr>
            <a:lvl3pPr>
              <a:defRPr sz="1200"/>
            </a:lvl3pPr>
            <a:lvl4pPr>
              <a:defRPr sz="1200"/>
            </a:lvl4pPr>
            <a:lvl5pPr>
              <a:defRPr sz="1800"/>
            </a:lvl5pPr>
            <a:lvl6pPr>
              <a:defRPr sz="1800"/>
            </a:lvl6pPr>
            <a:lvl7pPr>
              <a:defRPr sz="1800"/>
            </a:lvl7pPr>
            <a:lvl8pPr>
              <a:defRPr sz="1800"/>
            </a:lvl8pPr>
            <a:lvl9pPr>
              <a:defRPr sz="1800"/>
            </a:lvl9p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p:txBody>
      </p:sp>
      <p:sp>
        <p:nvSpPr>
          <p:cNvPr id="6" name="Espace réservé du pied de page 5"/>
          <p:cNvSpPr>
            <a:spLocks noGrp="1"/>
          </p:cNvSpPr>
          <p:nvPr>
            <p:ph type="ftr" sz="quarter" idx="11"/>
          </p:nvPr>
        </p:nvSpPr>
        <p:spPr/>
        <p:txBody>
          <a:bodyPr/>
          <a:lstStyle/>
          <a:p>
            <a:r>
              <a:rPr lang="en-US" noProof="0" smtClean="0"/>
              <a:t>Presentation title - Place and Country - Date Month Day Year</a:t>
            </a:r>
            <a:endParaRPr lang="fr-FR" noProof="0" dirty="0"/>
          </a:p>
        </p:txBody>
      </p:sp>
      <p:sp>
        <p:nvSpPr>
          <p:cNvPr id="7" name="Espace réservé du numéro de diapositive 6"/>
          <p:cNvSpPr>
            <a:spLocks noGrp="1"/>
          </p:cNvSpPr>
          <p:nvPr>
            <p:ph type="sldNum" sz="quarter" idx="12"/>
          </p:nvPr>
        </p:nvSpPr>
        <p:spPr/>
        <p:txBody>
          <a:bodyPr/>
          <a:lstStyle/>
          <a:p>
            <a:fld id="{21F90BE8-D879-4F46-ACF9-7BCC67DCFB75}" type="slidenum">
              <a:rPr lang="fr-FR" smtClean="0"/>
              <a:pPr/>
              <a:t>‹N°›</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phique bar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hasCustomPrompt="1"/>
          </p:nvPr>
        </p:nvSpPr>
        <p:spPr>
          <a:xfrm>
            <a:off x="457200" y="1695600"/>
            <a:ext cx="8218800" cy="4284000"/>
          </a:xfrm>
          <a:prstGeom prst="rect">
            <a:avLst/>
          </a:prstGeom>
        </p:spPr>
        <p:txBody>
          <a:bodyPr/>
          <a:lstStyle>
            <a:lvl1pPr>
              <a:defRPr/>
            </a:lvl1pPr>
          </a:lstStyle>
          <a:p>
            <a:pPr lvl="0"/>
            <a:r>
              <a:rPr lang="fr-FR" dirty="0" smtClean="0"/>
              <a:t>Bar graph</a:t>
            </a:r>
            <a:endParaRPr lang="fr-FR" dirty="0"/>
          </a:p>
        </p:txBody>
      </p:sp>
      <p:sp>
        <p:nvSpPr>
          <p:cNvPr id="5" name="Espace réservé du pied de page 4"/>
          <p:cNvSpPr>
            <a:spLocks noGrp="1"/>
          </p:cNvSpPr>
          <p:nvPr>
            <p:ph type="ftr" sz="quarter" idx="11"/>
          </p:nvPr>
        </p:nvSpPr>
        <p:spPr/>
        <p:txBody>
          <a:bodyPr/>
          <a:lstStyle/>
          <a:p>
            <a:r>
              <a:rPr lang="en-US" smtClean="0"/>
              <a:t>Presentation title - Place and Country - Date Month Day Year</a:t>
            </a:r>
            <a:endParaRPr lang="fr-FR" dirty="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
        <p:nvSpPr>
          <p:cNvPr id="7" name="Espace réservé du texte 7"/>
          <p:cNvSpPr>
            <a:spLocks noGrp="1"/>
          </p:cNvSpPr>
          <p:nvPr>
            <p:ph type="body" sz="quarter" idx="13" hasCustomPrompt="1"/>
          </p:nvPr>
        </p:nvSpPr>
        <p:spPr>
          <a:xfrm>
            <a:off x="2267744" y="1418400"/>
            <a:ext cx="4608512" cy="338554"/>
          </a:xfrm>
        </p:spPr>
        <p:txBody>
          <a:bodyPr wrap="square" anchor="t" anchorCtr="1">
            <a:spAutoFit/>
          </a:bodyPr>
          <a:lstStyle>
            <a:lvl1pPr algn="ctr">
              <a:buNone/>
              <a:defRPr sz="1600"/>
            </a:lvl1pPr>
          </a:lstStyle>
          <a:p>
            <a:pPr lvl="0"/>
            <a:r>
              <a:rPr lang="fr-FR" dirty="0" smtClean="0"/>
              <a:t>Bar graph </a:t>
            </a:r>
            <a:r>
              <a:rPr lang="fr-FR" dirty="0" err="1" smtClean="0"/>
              <a:t>title</a:t>
            </a:r>
            <a:endParaRPr lang="fr-FR" dirty="0"/>
          </a:p>
        </p:txBody>
      </p:sp>
      <p:sp>
        <p:nvSpPr>
          <p:cNvPr id="8" name="Espace réservé du texte 8"/>
          <p:cNvSpPr>
            <a:spLocks noGrp="1"/>
          </p:cNvSpPr>
          <p:nvPr>
            <p:ph type="body" sz="quarter" idx="14" hasCustomPrompt="1"/>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dirty="0" smtClean="0"/>
              <a:t>Source</a:t>
            </a:r>
          </a:p>
        </p:txBody>
      </p:sp>
    </p:spTree>
    <p:extLst>
      <p:ext uri="{BB962C8B-B14F-4D97-AF65-F5344CB8AC3E}">
        <p14:creationId xmlns:p14="http://schemas.microsoft.com/office/powerpoint/2010/main" xmlns="" val="23004546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eux Graphiques bar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hasCustomPrompt="1"/>
          </p:nvPr>
        </p:nvSpPr>
        <p:spPr>
          <a:xfrm>
            <a:off x="457200" y="972000"/>
            <a:ext cx="8218800" cy="2484000"/>
          </a:xfrm>
          <a:prstGeom prst="rect">
            <a:avLst/>
          </a:prstGeom>
        </p:spPr>
        <p:txBody>
          <a:bodyPr/>
          <a:lstStyle>
            <a:lvl1pPr>
              <a:defRPr/>
            </a:lvl1pPr>
          </a:lstStyle>
          <a:p>
            <a:pPr lvl="0"/>
            <a:r>
              <a:rPr lang="fr-FR" dirty="0" smtClean="0"/>
              <a:t>Bar graph</a:t>
            </a:r>
            <a:endParaRPr lang="fr-FR" dirty="0"/>
          </a:p>
        </p:txBody>
      </p:sp>
      <p:sp>
        <p:nvSpPr>
          <p:cNvPr id="5" name="Espace réservé du pied de page 4"/>
          <p:cNvSpPr>
            <a:spLocks noGrp="1"/>
          </p:cNvSpPr>
          <p:nvPr>
            <p:ph type="ftr" sz="quarter" idx="11"/>
          </p:nvPr>
        </p:nvSpPr>
        <p:spPr/>
        <p:txBody>
          <a:bodyPr/>
          <a:lstStyle/>
          <a:p>
            <a:r>
              <a:rPr lang="en-US" smtClean="0"/>
              <a:t>Presentation title - Place and Country - Date Month Day Year</a:t>
            </a:r>
            <a:endParaRPr lang="fr-FR" dirty="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
        <p:nvSpPr>
          <p:cNvPr id="8" name="Espace réservé du contenu 2"/>
          <p:cNvSpPr>
            <a:spLocks noGrp="1"/>
          </p:cNvSpPr>
          <p:nvPr>
            <p:ph idx="13" hasCustomPrompt="1"/>
          </p:nvPr>
        </p:nvSpPr>
        <p:spPr>
          <a:xfrm>
            <a:off x="457200" y="3510000"/>
            <a:ext cx="8218800" cy="2484000"/>
          </a:xfrm>
          <a:prstGeom prst="rect">
            <a:avLst/>
          </a:prstGeom>
        </p:spPr>
        <p:txBody>
          <a:bodyPr/>
          <a:lstStyle>
            <a:lvl1pPr>
              <a:defRPr/>
            </a:lvl1pPr>
          </a:lstStyle>
          <a:p>
            <a:pPr lvl="0"/>
            <a:r>
              <a:rPr lang="fr-FR" dirty="0" smtClean="0"/>
              <a:t>Bar graph</a:t>
            </a:r>
            <a:endParaRPr lang="fr-FR" dirty="0"/>
          </a:p>
        </p:txBody>
      </p:sp>
      <p:sp>
        <p:nvSpPr>
          <p:cNvPr id="7" name="Espace réservé du texte 8"/>
          <p:cNvSpPr>
            <a:spLocks noGrp="1"/>
          </p:cNvSpPr>
          <p:nvPr>
            <p:ph type="body" sz="quarter" idx="14" hasCustomPrompt="1"/>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dirty="0" smtClean="0"/>
              <a:t>Source</a:t>
            </a:r>
          </a:p>
        </p:txBody>
      </p:sp>
    </p:spTree>
    <p:extLst>
      <p:ext uri="{BB962C8B-B14F-4D97-AF65-F5344CB8AC3E}">
        <p14:creationId xmlns:p14="http://schemas.microsoft.com/office/powerpoint/2010/main" xmlns="" val="2300454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raphique ann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hasCustomPrompt="1"/>
          </p:nvPr>
        </p:nvSpPr>
        <p:spPr>
          <a:xfrm>
            <a:off x="457200" y="1767600"/>
            <a:ext cx="8218800" cy="4248000"/>
          </a:xfrm>
          <a:prstGeom prst="rect">
            <a:avLst/>
          </a:prstGeom>
        </p:spPr>
        <p:txBody>
          <a:bodyPr/>
          <a:lstStyle>
            <a:lvl1pPr>
              <a:defRPr sz="2000"/>
            </a:lvl1pPr>
          </a:lstStyle>
          <a:p>
            <a:pPr lvl="0"/>
            <a:r>
              <a:rPr lang="fr-FR" dirty="0" smtClean="0"/>
              <a:t>Ring graph</a:t>
            </a:r>
          </a:p>
        </p:txBody>
      </p:sp>
      <p:sp>
        <p:nvSpPr>
          <p:cNvPr id="5" name="Espace réservé du pied de page 4"/>
          <p:cNvSpPr>
            <a:spLocks noGrp="1"/>
          </p:cNvSpPr>
          <p:nvPr>
            <p:ph type="ftr" sz="quarter" idx="11"/>
          </p:nvPr>
        </p:nvSpPr>
        <p:spPr/>
        <p:txBody>
          <a:bodyPr/>
          <a:lstStyle/>
          <a:p>
            <a:r>
              <a:rPr lang="en-US" smtClean="0"/>
              <a:t>Presentation title - Place and Country - Date Month Day Year</a:t>
            </a:r>
            <a:endParaRPr lang="fr-FR" dirty="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
        <p:nvSpPr>
          <p:cNvPr id="8" name="Espace réservé du texte 7"/>
          <p:cNvSpPr>
            <a:spLocks noGrp="1"/>
          </p:cNvSpPr>
          <p:nvPr>
            <p:ph type="body" sz="quarter" idx="13" hasCustomPrompt="1"/>
          </p:nvPr>
        </p:nvSpPr>
        <p:spPr>
          <a:xfrm>
            <a:off x="2267744" y="1418400"/>
            <a:ext cx="4608512" cy="338554"/>
          </a:xfrm>
        </p:spPr>
        <p:txBody>
          <a:bodyPr wrap="square" anchor="t" anchorCtr="1">
            <a:spAutoFit/>
          </a:bodyPr>
          <a:lstStyle>
            <a:lvl1pPr algn="ctr">
              <a:spcBef>
                <a:spcPct val="50000"/>
              </a:spcBef>
              <a:buNone/>
              <a:defRPr sz="1600"/>
            </a:lvl1pPr>
          </a:lstStyle>
          <a:p>
            <a:pPr algn="ctr">
              <a:spcBef>
                <a:spcPct val="50000"/>
              </a:spcBef>
            </a:pPr>
            <a:r>
              <a:rPr lang="en-GB" sz="1600" dirty="0" smtClean="0">
                <a:cs typeface="Arial"/>
              </a:rPr>
              <a:t>Ring graph title</a:t>
            </a:r>
            <a:endParaRPr lang="en-GB" sz="1600" dirty="0">
              <a:cs typeface="Arial"/>
            </a:endParaRPr>
          </a:p>
        </p:txBody>
      </p:sp>
      <p:sp>
        <p:nvSpPr>
          <p:cNvPr id="7" name="Espace réservé du texte 8"/>
          <p:cNvSpPr>
            <a:spLocks noGrp="1"/>
          </p:cNvSpPr>
          <p:nvPr>
            <p:ph type="body" sz="quarter" idx="14" hasCustomPrompt="1"/>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dirty="0" smtClean="0"/>
              <a:t>Source</a:t>
            </a:r>
          </a:p>
        </p:txBody>
      </p:sp>
    </p:spTree>
    <p:extLst>
      <p:ext uri="{BB962C8B-B14F-4D97-AF65-F5344CB8AC3E}">
        <p14:creationId xmlns:p14="http://schemas.microsoft.com/office/powerpoint/2010/main" xmlns="" val="23004546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smtClean="0"/>
              <a:t>Cliquez pour modifier le style du titre</a:t>
            </a:r>
            <a:endParaRPr lang="fr-FR" dirty="0"/>
          </a:p>
        </p:txBody>
      </p:sp>
      <p:sp>
        <p:nvSpPr>
          <p:cNvPr id="3" name="Espace réservé du contenu 2"/>
          <p:cNvSpPr>
            <a:spLocks noGrp="1"/>
          </p:cNvSpPr>
          <p:nvPr>
            <p:ph idx="1" hasCustomPrompt="1"/>
          </p:nvPr>
        </p:nvSpPr>
        <p:spPr>
          <a:xfrm>
            <a:off x="457200" y="1125538"/>
            <a:ext cx="8218488" cy="4896000"/>
          </a:xfrm>
          <a:prstGeom prst="rect">
            <a:avLst/>
          </a:prstGeom>
        </p:spPr>
        <p:txBody>
          <a:bodyPr anchor="t" anchorCtr="0"/>
          <a:lstStyle>
            <a:lvl1pPr>
              <a:defRPr/>
            </a:lvl1pPr>
          </a:lstStyle>
          <a:p>
            <a:pPr lvl="0"/>
            <a:r>
              <a:rPr lang="fr-FR" dirty="0" smtClean="0"/>
              <a:t>Table</a:t>
            </a:r>
          </a:p>
        </p:txBody>
      </p:sp>
      <p:sp>
        <p:nvSpPr>
          <p:cNvPr id="5" name="Espace réservé du pied de page 4"/>
          <p:cNvSpPr>
            <a:spLocks noGrp="1"/>
          </p:cNvSpPr>
          <p:nvPr>
            <p:ph type="ftr" sz="quarter" idx="11"/>
          </p:nvPr>
        </p:nvSpPr>
        <p:spPr/>
        <p:txBody>
          <a:bodyPr/>
          <a:lstStyle/>
          <a:p>
            <a:r>
              <a:rPr lang="en-US" smtClean="0"/>
              <a:t>Presentation title - Place and Country - Date Month Day Year</a:t>
            </a:r>
            <a:endParaRPr lang="fr-FR" dirty="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
        <p:nvSpPr>
          <p:cNvPr id="7" name="Espace réservé du texte 8"/>
          <p:cNvSpPr>
            <a:spLocks noGrp="1"/>
          </p:cNvSpPr>
          <p:nvPr>
            <p:ph type="body" sz="quarter" idx="14" hasCustomPrompt="1"/>
          </p:nvPr>
        </p:nvSpPr>
        <p:spPr>
          <a:xfrm>
            <a:off x="457200" y="6021388"/>
            <a:ext cx="3178175" cy="215900"/>
          </a:xfrm>
        </p:spPr>
        <p:txBody>
          <a:bodyPr lIns="0">
            <a:noAutofit/>
          </a:bodyPr>
          <a:lstStyle>
            <a:lvl1pPr marL="0" indent="0">
              <a:buFont typeface="Arial" pitchFamily="34" charset="0"/>
              <a:buNone/>
              <a:defRPr sz="900"/>
            </a:lvl1pPr>
            <a:lvl2pPr marL="0" indent="0">
              <a:buNone/>
              <a:defRPr/>
            </a:lvl2pPr>
            <a:lvl3pPr>
              <a:buNone/>
              <a:defRPr/>
            </a:lvl3pPr>
            <a:lvl4pPr>
              <a:buNone/>
              <a:defRPr/>
            </a:lvl4pPr>
            <a:lvl5pPr>
              <a:buFont typeface="Arial" pitchFamily="34" charset="0"/>
              <a:buNone/>
              <a:defRPr/>
            </a:lvl5pPr>
          </a:lstStyle>
          <a:p>
            <a:pPr lvl="0"/>
            <a:r>
              <a:rPr lang="fr-FR" dirty="0" smtClean="0"/>
              <a:t>Source</a:t>
            </a:r>
          </a:p>
        </p:txBody>
      </p:sp>
    </p:spTree>
    <p:extLst>
      <p:ext uri="{BB962C8B-B14F-4D97-AF65-F5344CB8AC3E}">
        <p14:creationId xmlns:p14="http://schemas.microsoft.com/office/powerpoint/2010/main" xmlns="" val="23004546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3">
                    <a:lumMod val="75000"/>
                  </a:schemeClr>
                </a:solidFill>
              </a:defRPr>
            </a:lvl1pPr>
          </a:lstStyle>
          <a:p>
            <a:r>
              <a:rPr lang="fr-FR" noProof="0" smtClean="0"/>
              <a:t>Cliquez pour modifier le style du titre</a:t>
            </a:r>
            <a:endParaRPr lang="fr-FR" noProof="0" dirty="0"/>
          </a:p>
        </p:txBody>
      </p:sp>
      <p:sp>
        <p:nvSpPr>
          <p:cNvPr id="5" name="Espace réservé du pied de page 4"/>
          <p:cNvSpPr>
            <a:spLocks noGrp="1"/>
          </p:cNvSpPr>
          <p:nvPr>
            <p:ph type="ftr" sz="quarter" idx="11"/>
          </p:nvPr>
        </p:nvSpPr>
        <p:spPr/>
        <p:txBody>
          <a:bodyPr/>
          <a:lstStyle/>
          <a:p>
            <a:r>
              <a:rPr lang="en-US" noProof="0" smtClean="0"/>
              <a:t>Presentation title - Place and Country - Date Month Day Year</a:t>
            </a:r>
            <a:endParaRPr lang="fr-FR" noProof="0"/>
          </a:p>
        </p:txBody>
      </p:sp>
      <p:sp>
        <p:nvSpPr>
          <p:cNvPr id="6" name="Espace réservé du numéro de diapositive 5"/>
          <p:cNvSpPr>
            <a:spLocks noGrp="1"/>
          </p:cNvSpPr>
          <p:nvPr>
            <p:ph type="sldNum" sz="quarter" idx="12"/>
          </p:nvPr>
        </p:nvSpPr>
        <p:spPr/>
        <p:txBody>
          <a:bodyPr/>
          <a:lstStyle/>
          <a:p>
            <a:fld id="{21F90BE8-D879-4F46-ACF9-7BCC67DCFB75}" type="slidenum">
              <a:rPr lang="fr-FR" smtClean="0"/>
              <a:pPr/>
              <a:t>‹N°›</a:t>
            </a:fld>
            <a:endParaRPr lang="fr-FR"/>
          </a:p>
        </p:txBody>
      </p:sp>
    </p:spTree>
    <p:extLst>
      <p:ext uri="{BB962C8B-B14F-4D97-AF65-F5344CB8AC3E}">
        <p14:creationId xmlns:p14="http://schemas.microsoft.com/office/powerpoint/2010/main" xmlns="" val="2957685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457200" y="274638"/>
            <a:ext cx="8218488" cy="635000"/>
          </a:xfrm>
          <a:prstGeom prst="rect">
            <a:avLst/>
          </a:prstGeom>
        </p:spPr>
        <p:txBody>
          <a:bodyPr vert="horz" lIns="91440" tIns="45720" rIns="91440" bIns="45720" rtlCol="0" anchor="t">
            <a:noAutofit/>
          </a:bodyPr>
          <a:lstStyle/>
          <a:p>
            <a:r>
              <a:rPr lang="fr-FR" noProof="0" dirty="0" smtClean="0"/>
              <a:t>Cliquez et modifiez le titre</a:t>
            </a:r>
            <a:endParaRPr lang="fr-FR" noProof="0" dirty="0"/>
          </a:p>
        </p:txBody>
      </p:sp>
      <p:sp>
        <p:nvSpPr>
          <p:cNvPr id="5" name="Espace réservé du pied de page 4"/>
          <p:cNvSpPr>
            <a:spLocks noGrp="1"/>
          </p:cNvSpPr>
          <p:nvPr>
            <p:ph type="ftr" sz="quarter" idx="3"/>
          </p:nvPr>
        </p:nvSpPr>
        <p:spPr>
          <a:xfrm>
            <a:off x="457200" y="6411916"/>
            <a:ext cx="5562600" cy="365125"/>
          </a:xfrm>
          <a:prstGeom prst="rect">
            <a:avLst/>
          </a:prstGeom>
        </p:spPr>
        <p:txBody>
          <a:bodyPr vert="horz" lIns="0" tIns="45720" rIns="91440" bIns="45720" rtlCol="0" anchor="ctr"/>
          <a:lstStyle>
            <a:lvl1pPr algn="l">
              <a:defRPr sz="900">
                <a:solidFill>
                  <a:schemeClr val="tx1"/>
                </a:solidFill>
                <a:latin typeface="+mn-lt"/>
                <a:cs typeface="Helvetica"/>
              </a:defRPr>
            </a:lvl1pPr>
          </a:lstStyle>
          <a:p>
            <a:r>
              <a:rPr lang="en-US" dirty="0" smtClean="0"/>
              <a:t>Presentation title - Place and Country - Date Month Day Year</a:t>
            </a:r>
            <a:endParaRPr lang="fr-FR" dirty="0"/>
          </a:p>
        </p:txBody>
      </p:sp>
      <p:sp>
        <p:nvSpPr>
          <p:cNvPr id="6" name="Espace réservé du numéro de diapositive 5"/>
          <p:cNvSpPr>
            <a:spLocks noGrp="1"/>
          </p:cNvSpPr>
          <p:nvPr>
            <p:ph type="sldNum" sz="quarter" idx="4"/>
          </p:nvPr>
        </p:nvSpPr>
        <p:spPr>
          <a:xfrm>
            <a:off x="6553200" y="6411916"/>
            <a:ext cx="725488" cy="365125"/>
          </a:xfrm>
          <a:prstGeom prst="rect">
            <a:avLst/>
          </a:prstGeom>
        </p:spPr>
        <p:txBody>
          <a:bodyPr vert="horz" lIns="91440" tIns="45720" rIns="91440" bIns="45720" rtlCol="0" anchor="ctr"/>
          <a:lstStyle>
            <a:lvl1pPr algn="r">
              <a:defRPr sz="1200">
                <a:solidFill>
                  <a:schemeClr val="tx1">
                    <a:tint val="75000"/>
                  </a:schemeClr>
                </a:solidFill>
                <a:latin typeface="+mn-lt"/>
                <a:cs typeface="Helvetica"/>
              </a:defRPr>
            </a:lvl1pPr>
          </a:lstStyle>
          <a:p>
            <a:fld id="{21F90BE8-D879-4F46-ACF9-7BCC67DCFB75}" type="slidenum">
              <a:rPr lang="fr-FR" smtClean="0"/>
              <a:pPr/>
              <a:t>‹N°›</a:t>
            </a:fld>
            <a:endParaRPr lang="fr-FR" dirty="0"/>
          </a:p>
        </p:txBody>
      </p:sp>
      <p:sp>
        <p:nvSpPr>
          <p:cNvPr id="7" name="Rectangle 6"/>
          <p:cNvSpPr/>
          <p:nvPr/>
        </p:nvSpPr>
        <p:spPr>
          <a:xfrm>
            <a:off x="9031305" y="0"/>
            <a:ext cx="112695" cy="6858000"/>
          </a:xfrm>
          <a:prstGeom prst="rect">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latin typeface="Helvetica"/>
              <a:cs typeface="Helvetica"/>
            </a:endParaRPr>
          </a:p>
        </p:txBody>
      </p:sp>
      <p:cxnSp>
        <p:nvCxnSpPr>
          <p:cNvPr id="9" name="Connecteur droit 8"/>
          <p:cNvCxnSpPr/>
          <p:nvPr/>
        </p:nvCxnSpPr>
        <p:spPr>
          <a:xfrm>
            <a:off x="457200" y="6311850"/>
            <a:ext cx="8686800" cy="1588"/>
          </a:xfrm>
          <a:prstGeom prst="line">
            <a:avLst/>
          </a:prstGeom>
          <a:ln w="9525" cap="flat" cmpd="sng" algn="ctr">
            <a:solidFill>
              <a:schemeClr val="accent3">
                <a:lumMod val="7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Connecteur droit 11"/>
          <p:cNvCxnSpPr/>
          <p:nvPr/>
        </p:nvCxnSpPr>
        <p:spPr>
          <a:xfrm rot="5400000">
            <a:off x="7334251" y="6594478"/>
            <a:ext cx="365125" cy="1588"/>
          </a:xfrm>
          <a:prstGeom prst="line">
            <a:avLst/>
          </a:prstGeom>
          <a:ln w="6350" cap="flat" cmpd="sng" algn="ctr">
            <a:solidFill>
              <a:schemeClr val="tx1">
                <a:alpha val="70000"/>
              </a:schemeClr>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4" name="Espace réservé du texte 3"/>
          <p:cNvSpPr>
            <a:spLocks noGrp="1"/>
          </p:cNvSpPr>
          <p:nvPr>
            <p:ph type="body" idx="1"/>
          </p:nvPr>
        </p:nvSpPr>
        <p:spPr>
          <a:xfrm>
            <a:off x="457200" y="1124744"/>
            <a:ext cx="8218488" cy="5001420"/>
          </a:xfrm>
          <a:prstGeom prst="rect">
            <a:avLst/>
          </a:prstGeom>
        </p:spPr>
        <p:txBody>
          <a:bodyPr vert="horz" lIns="91440" tIns="45720" rIns="91440" bIns="45720" rtlCol="0">
            <a:normAutofit/>
          </a:bodyPr>
          <a:lstStyle/>
          <a:p>
            <a:pPr lvl="0"/>
            <a:r>
              <a:rPr lang="fr-FR" noProof="0" dirty="0" smtClean="0"/>
              <a:t>Modifiez les styles du texte du masque</a:t>
            </a:r>
          </a:p>
          <a:p>
            <a:pPr lvl="1"/>
            <a:r>
              <a:rPr lang="fr-FR" noProof="0" dirty="0" smtClean="0"/>
              <a:t>Deuxième niveau</a:t>
            </a:r>
          </a:p>
          <a:p>
            <a:pPr lvl="2"/>
            <a:r>
              <a:rPr lang="fr-FR" noProof="0" dirty="0" smtClean="0"/>
              <a:t>Troisième niveau</a:t>
            </a:r>
          </a:p>
          <a:p>
            <a:pPr lvl="3"/>
            <a:r>
              <a:rPr lang="fr-FR" noProof="0" dirty="0" smtClean="0"/>
              <a:t>Quatrième niveau</a:t>
            </a:r>
          </a:p>
        </p:txBody>
      </p:sp>
      <p:pic>
        <p:nvPicPr>
          <p:cNvPr id="11" name="Image 10" descr="TOTAL_ADM.png"/>
          <p:cNvPicPr>
            <a:picLocks noChangeAspect="1"/>
          </p:cNvPicPr>
          <p:nvPr/>
        </p:nvPicPr>
        <p:blipFill>
          <a:blip r:embed="rId12">
            <a:extLst>
              <a:ext uri="{28A0092B-C50C-407E-A947-70E740481C1C}">
                <a14:useLocalDpi xmlns:a14="http://schemas.microsoft.com/office/drawing/2010/main" xmlns="" val="0"/>
              </a:ext>
            </a:extLst>
          </a:blip>
          <a:stretch>
            <a:fillRect/>
          </a:stretch>
        </p:blipFill>
        <p:spPr>
          <a:xfrm>
            <a:off x="7685087" y="6374892"/>
            <a:ext cx="1008000" cy="402149"/>
          </a:xfrm>
          <a:prstGeom prst="rect">
            <a:avLst/>
          </a:prstGeom>
        </p:spPr>
      </p:pic>
    </p:spTree>
  </p:cSld>
  <p:clrMap bg1="lt1" tx1="dk1" bg2="lt2" tx2="dk2" accent1="accent1" accent2="accent2" accent3="accent3" accent4="accent4" accent5="accent5" accent6="accent6" hlink="hlink" folHlink="folHlink"/>
  <p:sldLayoutIdLst>
    <p:sldLayoutId id="2147483673" r:id="rId1"/>
    <p:sldLayoutId id="2147483690" r:id="rId2"/>
    <p:sldLayoutId id="2147483658" r:id="rId3"/>
    <p:sldLayoutId id="2147483659" r:id="rId4"/>
    <p:sldLayoutId id="2147483692" r:id="rId5"/>
    <p:sldLayoutId id="2147483693" r:id="rId6"/>
    <p:sldLayoutId id="2147483694" r:id="rId7"/>
    <p:sldLayoutId id="2147483695" r:id="rId8"/>
    <p:sldLayoutId id="2147483696" r:id="rId9"/>
    <p:sldLayoutId id="2147483697" r:id="rId10"/>
  </p:sldLayoutIdLst>
  <p:hf hdr="0" dt="0"/>
  <p:txStyles>
    <p:titleStyle>
      <a:lvl1pPr algn="l" defTabSz="457200" rtl="0" eaLnBrk="1" latinLnBrk="0" hangingPunct="1">
        <a:spcBef>
          <a:spcPct val="0"/>
        </a:spcBef>
        <a:buNone/>
        <a:defRPr sz="2200" b="1" i="0" kern="1200" cap="all">
          <a:solidFill>
            <a:schemeClr val="accent3">
              <a:lumMod val="75000"/>
            </a:schemeClr>
          </a:solidFill>
          <a:latin typeface="+mj-lt"/>
          <a:ea typeface="+mj-ea"/>
          <a:cs typeface="Arial"/>
        </a:defRPr>
      </a:lvl1pPr>
    </p:titleStyle>
    <p:bodyStyle>
      <a:lvl1pPr marL="285750" indent="-285750" algn="l" defTabSz="457200" rtl="0" eaLnBrk="1" latinLnBrk="0" hangingPunct="1">
        <a:spcBef>
          <a:spcPts val="300"/>
        </a:spcBef>
        <a:spcAft>
          <a:spcPts val="300"/>
        </a:spcAft>
        <a:buClr>
          <a:schemeClr val="accent3">
            <a:lumMod val="75000"/>
          </a:schemeClr>
        </a:buClr>
        <a:buSzPct val="120000"/>
        <a:buFont typeface="Lucida Grande"/>
        <a:buChar char="●"/>
        <a:defRPr sz="2000" kern="1200">
          <a:solidFill>
            <a:schemeClr val="tx1"/>
          </a:solidFill>
          <a:latin typeface="+mn-lt"/>
          <a:ea typeface="+mn-ea"/>
          <a:cs typeface="Arial"/>
        </a:defRPr>
      </a:lvl1pPr>
      <a:lvl2pPr marL="447675" indent="-180975" algn="l" defTabSz="533400" rtl="0" eaLnBrk="1" latinLnBrk="0" hangingPunct="1">
        <a:spcBef>
          <a:spcPts val="300"/>
        </a:spcBef>
        <a:spcAft>
          <a:spcPts val="300"/>
        </a:spcAft>
        <a:buClr>
          <a:schemeClr val="accent3">
            <a:lumMod val="75000"/>
          </a:schemeClr>
        </a:buClr>
        <a:buFont typeface="Lucida Grande"/>
        <a:buChar char="-"/>
        <a:defRPr sz="1800" kern="1200">
          <a:solidFill>
            <a:schemeClr val="tx1"/>
          </a:solidFill>
          <a:latin typeface="+mn-lt"/>
          <a:ea typeface="+mn-ea"/>
          <a:cs typeface="Arial"/>
        </a:defRPr>
      </a:lvl2pPr>
      <a:lvl3pPr marL="806450" indent="-180975" algn="l" defTabSz="457200" rtl="0" eaLnBrk="1" latinLnBrk="0" hangingPunct="1">
        <a:spcBef>
          <a:spcPts val="300"/>
        </a:spcBef>
        <a:spcAft>
          <a:spcPts val="300"/>
        </a:spcAft>
        <a:buClr>
          <a:schemeClr val="accent3">
            <a:lumMod val="75000"/>
          </a:schemeClr>
        </a:buClr>
        <a:buSzPct val="100000"/>
        <a:buFont typeface="Lucida Grande"/>
        <a:buChar char="•"/>
        <a:defRPr sz="1600" kern="1200">
          <a:solidFill>
            <a:schemeClr val="tx1"/>
          </a:solidFill>
          <a:latin typeface="+mn-lt"/>
          <a:ea typeface="+mn-ea"/>
          <a:cs typeface="Arial"/>
        </a:defRPr>
      </a:lvl3pPr>
      <a:lvl4pPr marL="1076325" indent="-171450" algn="l" defTabSz="457200" rtl="0" eaLnBrk="1" latinLnBrk="0" hangingPunct="1">
        <a:spcBef>
          <a:spcPts val="300"/>
        </a:spcBef>
        <a:spcAft>
          <a:spcPts val="300"/>
        </a:spcAft>
        <a:buClr>
          <a:schemeClr val="accent3">
            <a:lumMod val="75000"/>
          </a:schemeClr>
        </a:buClr>
        <a:buSzPct val="80000"/>
        <a:buFont typeface="Lucida Grande"/>
        <a:buChar char="-"/>
        <a:tabLst/>
        <a:defRPr sz="1600" kern="1200">
          <a:solidFill>
            <a:schemeClr val="tx1"/>
          </a:solidFill>
          <a:latin typeface="+mn-lt"/>
          <a:ea typeface="+mn-ea"/>
          <a:cs typeface="Helvetica"/>
        </a:defRPr>
      </a:lvl4pPr>
      <a:lvl5pPr marL="1260000" indent="-180975" algn="l" defTabSz="352425" rtl="0" eaLnBrk="1" latinLnBrk="0" hangingPunct="1">
        <a:spcBef>
          <a:spcPts val="300"/>
        </a:spcBef>
        <a:spcAft>
          <a:spcPts val="300"/>
        </a:spcAft>
        <a:buClr>
          <a:srgbClr val="800000"/>
        </a:buClr>
        <a:buSzPct val="100000"/>
        <a:buFont typeface="Lucida Grande"/>
        <a:buNone/>
        <a:defRPr sz="1600" kern="1200">
          <a:solidFill>
            <a:schemeClr val="tx1"/>
          </a:solidFill>
          <a:latin typeface="+mn-lt"/>
          <a:ea typeface="+mn-ea"/>
          <a:cs typeface="Helvetic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hyperlink" Target="Materiel/Death%20in%20the%20oilfield-fr.flv"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3.xml"/><Relationship Id="rId7"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ZoneTexte 1"/>
          <p:cNvSpPr txBox="1">
            <a:spLocks noChangeArrowheads="1"/>
          </p:cNvSpPr>
          <p:nvPr/>
        </p:nvSpPr>
        <p:spPr bwMode="auto">
          <a:xfrm>
            <a:off x="3200400" y="3276600"/>
            <a:ext cx="184150" cy="369888"/>
          </a:xfrm>
          <a:prstGeom prst="rect">
            <a:avLst/>
          </a:prstGeom>
          <a:noFill/>
          <a:ln w="9525">
            <a:noFill/>
            <a:miter lim="800000"/>
            <a:headEnd/>
            <a:tailEnd/>
          </a:ln>
        </p:spPr>
        <p:txBody>
          <a:bodyPr wrap="none">
            <a:spAutoFit/>
          </a:bodyPr>
          <a:lstStyle/>
          <a:p>
            <a:pPr algn="l" rtl="0" eaLnBrk="1" hangingPunct="1"/>
            <a:endParaRPr lang="en" altLang="fr-FR"/>
          </a:p>
        </p:txBody>
      </p:sp>
      <p:sp>
        <p:nvSpPr>
          <p:cNvPr id="3" name="Titre 2"/>
          <p:cNvSpPr>
            <a:spLocks noGrp="1"/>
          </p:cNvSpPr>
          <p:nvPr>
            <p:ph type="title"/>
          </p:nvPr>
        </p:nvSpPr>
        <p:spPr>
          <a:xfrm>
            <a:off x="1187450" y="2106613"/>
            <a:ext cx="7277100" cy="1487487"/>
          </a:xfrm>
        </p:spPr>
        <p:txBody>
          <a:bodyPr/>
          <a:lstStyle/>
          <a:p>
            <a:pPr algn="l" rtl="0" eaLnBrk="1" fontAlgn="auto" hangingPunct="1">
              <a:spcAft>
                <a:spcPts val="0"/>
              </a:spcAft>
              <a:defRPr/>
            </a:pPr>
            <a:r>
              <a:rPr lang="en" b="1" i="0" u="none" baseline="0">
                <a:ea typeface="+mj-ea"/>
              </a:rPr>
              <a:t>Behaviors</a:t>
            </a:r>
            <a:r>
              <a:rPr lang="en">
                <a:ea typeface="+mj-ea"/>
              </a:rPr>
              <a:t/>
            </a:r>
            <a:br>
              <a:rPr lang="en">
                <a:ea typeface="+mj-ea"/>
              </a:rPr>
            </a:br>
            <a:r>
              <a:rPr lang="en" b="1" i="0" u="none" baseline="0">
                <a:ea typeface="+mj-ea"/>
              </a:rPr>
              <a:t>(positive and negative)</a:t>
            </a:r>
            <a:endParaRPr lang="en" dirty="0">
              <a:ea typeface="+mj-ea"/>
            </a:endParaRPr>
          </a:p>
        </p:txBody>
      </p:sp>
      <p:sp>
        <p:nvSpPr>
          <p:cNvPr id="14339" name="Espace réservé du texte 5"/>
          <p:cNvSpPr>
            <a:spLocks noGrp="1"/>
          </p:cNvSpPr>
          <p:nvPr>
            <p:ph type="body" sz="quarter" idx="10"/>
          </p:nvPr>
        </p:nvSpPr>
        <p:spPr>
          <a:xfrm>
            <a:off x="1187450" y="3640138"/>
            <a:ext cx="7277100" cy="1778000"/>
          </a:xfrm>
        </p:spPr>
        <p:txBody>
          <a:bodyPr/>
          <a:lstStyle/>
          <a:p>
            <a:r>
              <a:rPr lang="en" dirty="0" smtClean="0">
                <a:cs typeface="Arial" pitchFamily="34" charset="0"/>
              </a:rPr>
              <a:t>Safety Training for New Recruits</a:t>
            </a:r>
          </a:p>
          <a:p>
            <a:pPr algn="l" rtl="0" eaLnBrk="1" hangingPunct="1"/>
            <a:r>
              <a:rPr lang="en" b="0" i="0" u="none" baseline="0" dirty="0" smtClean="0">
                <a:cs typeface="Arial" pitchFamily="34" charset="0"/>
              </a:rPr>
              <a:t>Module </a:t>
            </a:r>
            <a:r>
              <a:rPr lang="en" b="0" i="0" u="none" baseline="0" dirty="0">
                <a:cs typeface="Arial" pitchFamily="34" charset="0"/>
              </a:rPr>
              <a:t>TCG 4.1</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defRPr/>
            </a:pPr>
            <a:r>
              <a:rPr lang="en" b="1" i="0" u="none" baseline="0"/>
              <a:t>Dealing with behavioral deviations</a:t>
            </a:r>
            <a:endParaRPr lang="en" dirty="0"/>
          </a:p>
        </p:txBody>
      </p:sp>
      <p:sp>
        <p:nvSpPr>
          <p:cNvPr id="21506" name="Espace réservé du texte 2"/>
          <p:cNvSpPr>
            <a:spLocks noGrp="1"/>
          </p:cNvSpPr>
          <p:nvPr>
            <p:ph type="body" sz="quarter" idx="12"/>
          </p:nvPr>
        </p:nvSpPr>
        <p:spPr>
          <a:xfrm>
            <a:off x="457200" y="1268413"/>
            <a:ext cx="8218488" cy="5040312"/>
          </a:xfrm>
          <a:solidFill>
            <a:schemeClr val="bg1"/>
          </a:solidFill>
        </p:spPr>
        <p:txBody>
          <a:bodyPr/>
          <a:lstStyle/>
          <a:p>
            <a:pPr marL="0" indent="0" algn="l" rtl="0">
              <a:buFont typeface="Lucida Grande"/>
              <a:buNone/>
            </a:pPr>
            <a:endParaRPr lang="en" altLang="fr-FR" b="1" dirty="0" smtClean="0">
              <a:cs typeface="Arial" pitchFamily="34" charset="0"/>
            </a:endParaRPr>
          </a:p>
          <a:p>
            <a:pPr marL="0" indent="0" algn="l" rtl="0">
              <a:buFont typeface="Lucida Grande"/>
              <a:buNone/>
            </a:pPr>
            <a:r>
              <a:rPr lang="en" b="1" i="0" u="none" baseline="0">
                <a:cs typeface="Arial" pitchFamily="34" charset="0"/>
              </a:rPr>
              <a:t>Difference between fault and error</a:t>
            </a:r>
          </a:p>
          <a:p>
            <a:pPr marL="0" indent="0" algn="l" rtl="0"/>
            <a:endParaRPr lang="en" altLang="fr-FR" dirty="0" smtClean="0">
              <a:cs typeface="Arial" pitchFamily="34" charset="0"/>
            </a:endParaRPr>
          </a:p>
          <a:p>
            <a:pPr marL="432000" indent="0" algn="l" rtl="0">
              <a:buFont typeface="Lucida Grande"/>
              <a:buNone/>
            </a:pPr>
            <a:r>
              <a:rPr lang="en" sz="1800" b="1" i="0" u="none" baseline="0">
                <a:cs typeface="Arial" pitchFamily="34" charset="0"/>
              </a:rPr>
              <a:t>Fault:</a:t>
            </a:r>
            <a:r>
              <a:rPr lang="en" sz="1800" b="0" i="0" u="none" baseline="0">
                <a:cs typeface="Arial" pitchFamily="34" charset="0"/>
              </a:rPr>
              <a:t> intentional</a:t>
            </a:r>
            <a:r>
              <a:rPr lang="en" sz="1800" b="1" i="0" u="none" baseline="0">
                <a:cs typeface="Arial" pitchFamily="34" charset="0"/>
              </a:rPr>
              <a:t> in nature</a:t>
            </a:r>
            <a:endParaRPr lang="en" altLang="fr-FR" sz="1800" dirty="0" smtClean="0">
              <a:cs typeface="Arial" pitchFamily="34" charset="0"/>
            </a:endParaRPr>
          </a:p>
          <a:p>
            <a:pPr marL="432000" indent="0" algn="l" rtl="0">
              <a:buFont typeface="Wingdings" pitchFamily="2" charset="2"/>
              <a:buChar char="Ø"/>
            </a:pPr>
            <a:r>
              <a:rPr lang="en" sz="1800" b="0" i="0" u="none" baseline="0">
                <a:cs typeface="Arial" pitchFamily="34" charset="0"/>
              </a:rPr>
              <a:t>Need to react with an </a:t>
            </a:r>
            <a:r>
              <a:rPr lang="en" sz="1800" b="1" i="0" u="none" baseline="0">
                <a:solidFill>
                  <a:srgbClr val="C00000"/>
                </a:solidFill>
                <a:cs typeface="Arial" pitchFamily="34" charset="0"/>
              </a:rPr>
              <a:t>appropriate</a:t>
            </a:r>
            <a:r>
              <a:rPr lang="en" sz="1800" b="0" i="0" u="none" baseline="0">
                <a:solidFill>
                  <a:srgbClr val="C00000"/>
                </a:solidFill>
                <a:cs typeface="Arial" pitchFamily="34" charset="0"/>
              </a:rPr>
              <a:t> </a:t>
            </a:r>
            <a:r>
              <a:rPr lang="en" sz="1800" b="1" i="0" u="none" baseline="0">
                <a:solidFill>
                  <a:srgbClr val="C00000"/>
                </a:solidFill>
                <a:cs typeface="Arial" pitchFamily="34" charset="0"/>
              </a:rPr>
              <a:t>penalty</a:t>
            </a:r>
          </a:p>
          <a:p>
            <a:pPr marL="0" indent="0" algn="l" rtl="0">
              <a:buFont typeface="Lucida Grande"/>
              <a:buNone/>
            </a:pPr>
            <a:endParaRPr lang="en" altLang="fr-FR" sz="1800" dirty="0" smtClean="0">
              <a:cs typeface="Arial" pitchFamily="34" charset="0"/>
            </a:endParaRPr>
          </a:p>
          <a:p>
            <a:pPr marL="0" indent="0" algn="l" rtl="0">
              <a:buFont typeface="Lucida Grande"/>
              <a:buNone/>
            </a:pPr>
            <a:endParaRPr lang="en" altLang="fr-FR" sz="1800" dirty="0" smtClean="0">
              <a:cs typeface="Arial" pitchFamily="34" charset="0"/>
            </a:endParaRPr>
          </a:p>
          <a:p>
            <a:pPr marL="432000" indent="0" algn="l" rtl="0">
              <a:buNone/>
            </a:pPr>
            <a:r>
              <a:rPr lang="en" sz="1800" b="1" i="0" u="none" baseline="0">
                <a:cs typeface="Arial" pitchFamily="34" charset="0"/>
              </a:rPr>
              <a:t>Error: </a:t>
            </a:r>
            <a:r>
              <a:rPr lang="en" sz="1800" b="0" i="0" u="none" baseline="0">
                <a:cs typeface="Arial" pitchFamily="34" charset="0"/>
              </a:rPr>
              <a:t>not intentional </a:t>
            </a:r>
            <a:r>
              <a:rPr lang="en" sz="1800" b="1" i="0" u="none" baseline="0">
                <a:cs typeface="Arial" pitchFamily="34" charset="0"/>
              </a:rPr>
              <a:t>in nature</a:t>
            </a:r>
          </a:p>
          <a:p>
            <a:pPr marL="432000" indent="0" algn="l" rtl="0">
              <a:buFont typeface="Wingdings" pitchFamily="2" charset="2"/>
              <a:buChar char="Ø"/>
            </a:pPr>
            <a:r>
              <a:rPr lang="en" sz="1800" b="0" i="0" u="none" baseline="0">
                <a:cs typeface="Arial" pitchFamily="34" charset="0"/>
              </a:rPr>
              <a:t>Need for </a:t>
            </a:r>
            <a:r>
              <a:rPr lang="en" sz="1800" b="1" i="0" u="none" baseline="0">
                <a:solidFill>
                  <a:srgbClr val="FFFF00"/>
                </a:solidFill>
                <a:effectLst>
                  <a:outerShdw blurRad="50800" dist="76200" dir="2700000" algn="tl" rotWithShape="0">
                    <a:prstClr val="black"/>
                  </a:outerShdw>
                </a:effectLst>
                <a:cs typeface="Arial" pitchFamily="34" charset="0"/>
              </a:rPr>
              <a:t>education</a:t>
            </a:r>
          </a:p>
          <a:p>
            <a:pPr marL="0" indent="0" algn="l" rtl="0">
              <a:buFont typeface="Lucida Grande"/>
              <a:buNone/>
            </a:pPr>
            <a:endParaRPr lang="en" altLang="fr-FR" sz="1800" dirty="0" smtClean="0">
              <a:cs typeface="Arial" pitchFamily="34" charset="0"/>
            </a:endParaRPr>
          </a:p>
          <a:p>
            <a:pPr marL="0" indent="0" algn="l" rtl="0">
              <a:buFont typeface="Lucida Grande"/>
              <a:buNone/>
            </a:pPr>
            <a:endParaRPr lang="en" altLang="fr-FR" sz="1800" dirty="0" smtClean="0">
              <a:cs typeface="Arial" pitchFamily="34" charset="0"/>
            </a:endParaRPr>
          </a:p>
        </p:txBody>
      </p:sp>
      <p:sp>
        <p:nvSpPr>
          <p:cNvPr id="21507"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EA82E376-B67B-4A6F-9632-231F6692FD3F}" type="slidenum">
              <a:rPr/>
              <a:pPr algn="r" rtl="0"/>
              <a:t>10</a:t>
            </a:fld>
            <a:endParaRPr lang="en" altLang="fr-FR"/>
          </a:p>
        </p:txBody>
      </p:sp>
      <p:sp>
        <p:nvSpPr>
          <p:cNvPr id="6" name="Cube 5"/>
          <p:cNvSpPr>
            <a:spLocks noChangeArrowheads="1"/>
          </p:cNvSpPr>
          <p:nvPr/>
        </p:nvSpPr>
        <p:spPr bwMode="auto">
          <a:xfrm rot="609520">
            <a:off x="437231" y="2520719"/>
            <a:ext cx="360363" cy="504825"/>
          </a:xfrm>
          <a:prstGeom prst="cube">
            <a:avLst>
              <a:gd name="adj" fmla="val 972"/>
            </a:avLst>
          </a:prstGeom>
          <a:solidFill>
            <a:srgbClr val="FF0000"/>
          </a:solidFill>
          <a:ln w="9525">
            <a:solidFill>
              <a:schemeClr val="tx1"/>
            </a:solidFill>
            <a:miter lim="800000"/>
            <a:headEnd/>
            <a:tailEnd/>
          </a:ln>
          <a:effectLst>
            <a:outerShdw dist="76201" dir="2700000" algn="tl" rotWithShape="0">
              <a:srgbClr val="808080">
                <a:alpha val="39999"/>
              </a:srgbClr>
            </a:outerShdw>
          </a:effectLst>
        </p:spPr>
        <p:txBody>
          <a:bodyPr anchor="ctr"/>
          <a:lstStyle/>
          <a:p>
            <a:pPr algn="ctr" rtl="0"/>
            <a:endParaRPr lang="en" altLang="fr-FR">
              <a:solidFill>
                <a:srgbClr val="FFFFFF"/>
              </a:solidFill>
            </a:endParaRPr>
          </a:p>
        </p:txBody>
      </p:sp>
      <p:sp>
        <p:nvSpPr>
          <p:cNvPr id="8" name="Cube 7"/>
          <p:cNvSpPr>
            <a:spLocks noChangeArrowheads="1"/>
          </p:cNvSpPr>
          <p:nvPr/>
        </p:nvSpPr>
        <p:spPr bwMode="auto">
          <a:xfrm rot="609520">
            <a:off x="437232" y="3898331"/>
            <a:ext cx="360362" cy="504825"/>
          </a:xfrm>
          <a:prstGeom prst="cube">
            <a:avLst>
              <a:gd name="adj" fmla="val 972"/>
            </a:avLst>
          </a:prstGeom>
          <a:solidFill>
            <a:srgbClr val="FFFF00"/>
          </a:solidFill>
          <a:ln w="9525">
            <a:solidFill>
              <a:schemeClr val="tx1"/>
            </a:solidFill>
            <a:miter lim="800000"/>
            <a:headEnd/>
            <a:tailEnd/>
          </a:ln>
          <a:effectLst>
            <a:outerShdw dist="76201" dir="2700000" algn="tl" rotWithShape="0">
              <a:srgbClr val="808080">
                <a:alpha val="39999"/>
              </a:srgbClr>
            </a:outerShdw>
          </a:effectLst>
        </p:spPr>
        <p:txBody>
          <a:bodyPr anchor="ctr"/>
          <a:lstStyle/>
          <a:p>
            <a:pPr algn="ctr" rtl="0"/>
            <a:endParaRPr lang="en" altLang="fr-FR">
              <a:solidFill>
                <a:srgbClr val="FFFFFF"/>
              </a:solidFill>
            </a:endParaRPr>
          </a:p>
        </p:txBody>
      </p:sp>
      <p:sp>
        <p:nvSpPr>
          <p:cNvPr id="9" name="Rectangle 8"/>
          <p:cNvSpPr>
            <a:spLocks noChangeArrowheads="1"/>
          </p:cNvSpPr>
          <p:nvPr/>
        </p:nvSpPr>
        <p:spPr bwMode="auto">
          <a:xfrm>
            <a:off x="1924058" y="5085184"/>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en" altLang="fr-FR" sz="800" b="1" dirty="0" smtClean="0">
              <a:solidFill>
                <a:srgbClr val="A90025"/>
              </a:solidFill>
            </a:endParaRPr>
          </a:p>
          <a:p>
            <a:pPr algn="ctr" rtl="0" eaLnBrk="1" hangingPunct="1">
              <a:spcBef>
                <a:spcPts val="0"/>
              </a:spcBef>
              <a:spcAft>
                <a:spcPts val="0"/>
              </a:spcAft>
              <a:buFont typeface="Lucida Grande"/>
              <a:buNone/>
            </a:pPr>
            <a:r>
              <a:rPr lang="en" sz="2000" b="1" i="0" u="none" baseline="0">
                <a:solidFill>
                  <a:srgbClr val="A90025"/>
                </a:solidFill>
              </a:rPr>
              <a:t>Any deviation must lead to a reaction</a:t>
            </a:r>
          </a:p>
          <a:p>
            <a:pPr algn="ctr" rtl="0" eaLnBrk="1" hangingPunct="1">
              <a:spcBef>
                <a:spcPts val="0"/>
              </a:spcBef>
              <a:spcAft>
                <a:spcPts val="0"/>
              </a:spcAft>
              <a:buFont typeface="Lucida Grande"/>
              <a:buNone/>
            </a:pPr>
            <a:endParaRPr lang="en" altLang="fr-FR" sz="800" b="1" dirty="0">
              <a:solidFill>
                <a:srgbClr val="A90025"/>
              </a:solidFill>
            </a:endParaRPr>
          </a:p>
        </p:txBody>
      </p:sp>
      <p:sp>
        <p:nvSpPr>
          <p:cNvPr id="10"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en" sz="900" b="0" i="0" u="none" baseline="0">
                <a:latin typeface="Arial" pitchFamily="34" charset="0"/>
                <a:cs typeface="Arial" pitchFamily="34" charset="0"/>
              </a:rPr>
              <a:t>H3SE integration kit - TCG 4.1 - Behaviors (positive and negative) – V2</a:t>
            </a:r>
            <a:endParaRPr lang="en"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defRPr/>
            </a:pPr>
            <a:r>
              <a:rPr lang="en" b="1" i="0" u="none" baseline="0"/>
              <a:t>Behavioral deviations</a:t>
            </a:r>
            <a:endParaRPr lang="en" dirty="0"/>
          </a:p>
        </p:txBody>
      </p:sp>
      <p:sp>
        <p:nvSpPr>
          <p:cNvPr id="22530"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C0FED822-FB17-4D7F-A9B1-7283ECAB6D60}" type="slidenum">
              <a:rPr/>
              <a:pPr algn="r" rtl="0"/>
              <a:t>11</a:t>
            </a:fld>
            <a:endParaRPr lang="en" altLang="fr-FR"/>
          </a:p>
        </p:txBody>
      </p:sp>
      <p:sp>
        <p:nvSpPr>
          <p:cNvPr id="22531" name="Rectangle 3"/>
          <p:cNvSpPr txBox="1">
            <a:spLocks noChangeArrowheads="1"/>
          </p:cNvSpPr>
          <p:nvPr/>
        </p:nvSpPr>
        <p:spPr bwMode="auto">
          <a:xfrm>
            <a:off x="3366789" y="836613"/>
            <a:ext cx="5597824" cy="4714875"/>
          </a:xfrm>
          <a:prstGeom prst="rect">
            <a:avLst/>
          </a:prstGeom>
          <a:noFill/>
          <a:ln w="9525">
            <a:noFill/>
            <a:miter lim="800000"/>
            <a:headEnd/>
            <a:tailEnd/>
          </a:ln>
        </p:spPr>
        <p:txBody>
          <a:bodyPr lIns="0" tIns="0" rIns="0" bIns="0"/>
          <a:lstStyle/>
          <a:p>
            <a:pPr marL="285750" indent="-285750" algn="l" rtl="0">
              <a:spcBef>
                <a:spcPts val="2100"/>
              </a:spcBef>
              <a:buClr>
                <a:srgbClr val="710018"/>
              </a:buClr>
              <a:buFont typeface="Wingdings" pitchFamily="2" charset="2"/>
              <a:buChar char="q"/>
            </a:pPr>
            <a:r>
              <a:rPr lang="en" b="0" i="0" u="none" baseline="0" dirty="0"/>
              <a:t>Speeding on-site</a:t>
            </a:r>
          </a:p>
          <a:p>
            <a:pPr marL="285750" indent="-285750" algn="l" rtl="0">
              <a:spcBef>
                <a:spcPts val="2100"/>
              </a:spcBef>
              <a:buClr>
                <a:srgbClr val="710018"/>
              </a:buClr>
              <a:buFont typeface="Wingdings" pitchFamily="2" charset="2"/>
              <a:buChar char="q"/>
            </a:pPr>
            <a:r>
              <a:rPr lang="en" b="0" i="0" u="none" baseline="0" dirty="0"/>
              <a:t>Forgetting a big step in a procedure</a:t>
            </a:r>
          </a:p>
          <a:p>
            <a:pPr marL="285750" indent="-285750" algn="l" rtl="0">
              <a:spcBef>
                <a:spcPts val="2100"/>
              </a:spcBef>
              <a:buClr>
                <a:srgbClr val="710018"/>
              </a:buClr>
              <a:buFont typeface="Wingdings" pitchFamily="2" charset="2"/>
              <a:buChar char="q"/>
            </a:pPr>
            <a:r>
              <a:rPr lang="en" b="0" i="0" u="none" baseline="0" dirty="0"/>
              <a:t>Bringing alcohol on-site</a:t>
            </a:r>
          </a:p>
          <a:p>
            <a:pPr marL="285750" indent="-285750" algn="l" rtl="0">
              <a:spcBef>
                <a:spcPts val="2100"/>
              </a:spcBef>
              <a:buClr>
                <a:srgbClr val="710018"/>
              </a:buClr>
              <a:buFont typeface="Wingdings" pitchFamily="2" charset="2"/>
              <a:buChar char="q"/>
            </a:pPr>
            <a:r>
              <a:rPr lang="en" b="0" i="0" u="none" baseline="0" dirty="0"/>
              <a:t>Not understanding a plan or procedure</a:t>
            </a:r>
          </a:p>
          <a:p>
            <a:pPr marL="285750" indent="-285750" algn="l" rtl="0">
              <a:spcBef>
                <a:spcPts val="2100"/>
              </a:spcBef>
              <a:buClr>
                <a:srgbClr val="710018"/>
              </a:buClr>
              <a:buFont typeface="Wingdings" pitchFamily="2" charset="2"/>
              <a:buChar char="q"/>
            </a:pPr>
            <a:r>
              <a:rPr lang="en" b="0" i="0" u="none" baseline="0" dirty="0"/>
              <a:t>Not using the PPE provided</a:t>
            </a:r>
          </a:p>
          <a:p>
            <a:pPr marL="285750" indent="-285750" algn="l" rtl="0">
              <a:spcBef>
                <a:spcPts val="2100"/>
              </a:spcBef>
              <a:buClr>
                <a:srgbClr val="710018"/>
              </a:buClr>
              <a:buFont typeface="Wingdings" pitchFamily="2" charset="2"/>
              <a:buChar char="q"/>
            </a:pPr>
            <a:r>
              <a:rPr lang="en" b="0" i="0" u="none" baseline="0" dirty="0"/>
              <a:t>Confusing two chemical products</a:t>
            </a:r>
          </a:p>
          <a:p>
            <a:pPr marL="285750" indent="-285750" algn="l" rtl="0">
              <a:spcBef>
                <a:spcPts val="2100"/>
              </a:spcBef>
              <a:buClr>
                <a:srgbClr val="710018"/>
              </a:buClr>
              <a:buFont typeface="Wingdings" pitchFamily="2" charset="2"/>
              <a:buChar char="q"/>
            </a:pPr>
            <a:r>
              <a:rPr lang="en" b="0" i="0" u="none" baseline="0" dirty="0"/>
              <a:t>Driving a site machine without wearing a seat belt</a:t>
            </a:r>
          </a:p>
          <a:p>
            <a:pPr marL="285750" indent="-285750" algn="l" rtl="0">
              <a:spcBef>
                <a:spcPts val="2100"/>
              </a:spcBef>
              <a:buClr>
                <a:srgbClr val="710018"/>
              </a:buClr>
              <a:buFont typeface="Wingdings" pitchFamily="2" charset="2"/>
              <a:buChar char="q"/>
            </a:pPr>
            <a:r>
              <a:rPr lang="en" b="0" i="0" u="none" baseline="0" dirty="0"/>
              <a:t>Using a phone while driving</a:t>
            </a:r>
          </a:p>
          <a:p>
            <a:pPr marL="285750" indent="-285750" algn="l" rtl="0">
              <a:spcBef>
                <a:spcPts val="2100"/>
              </a:spcBef>
              <a:buClr>
                <a:srgbClr val="710018"/>
              </a:buClr>
              <a:buFont typeface="Wingdings" pitchFamily="2" charset="2"/>
              <a:buChar char="q"/>
            </a:pPr>
            <a:r>
              <a:rPr lang="en" b="0" i="0" u="none" baseline="0" dirty="0"/>
              <a:t>Opening a different valve to the one indicated in the procedure because you don't think it is the right one</a:t>
            </a:r>
          </a:p>
        </p:txBody>
      </p:sp>
      <p:sp>
        <p:nvSpPr>
          <p:cNvPr id="7" name="Rectangle 6"/>
          <p:cNvSpPr/>
          <p:nvPr/>
        </p:nvSpPr>
        <p:spPr>
          <a:xfrm rot="20532324">
            <a:off x="477948" y="2053064"/>
            <a:ext cx="2868093" cy="584775"/>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rtl="0">
              <a:defRPr/>
            </a:pPr>
            <a:r>
              <a:rPr lang="en" sz="3200" b="1" i="0" u="none" baseline="0">
                <a:ln w="11430"/>
                <a:gradFill>
                  <a:gsLst>
                    <a:gs pos="0">
                      <a:srgbClr val="03D4A8"/>
                    </a:gs>
                    <a:gs pos="25000">
                      <a:srgbClr val="21D6E0"/>
                    </a:gs>
                    <a:gs pos="75000">
                      <a:srgbClr val="0087E6"/>
                    </a:gs>
                    <a:gs pos="100000">
                      <a:srgbClr val="005CBF"/>
                    </a:gs>
                  </a:gsLst>
                  <a:lin ang="5400000" scaled="0"/>
                </a:gradFill>
                <a:effectLst>
                  <a:outerShdw blurRad="50800" dist="39000" dir="5460000" algn="tl">
                    <a:srgbClr val="000000">
                      <a:alpha val="38000"/>
                    </a:srgbClr>
                  </a:outerShdw>
                </a:effectLst>
                <a:latin typeface="Arial" charset="0"/>
                <a:ea typeface="Arial" charset="0"/>
                <a:cs typeface="Arial" charset="0"/>
              </a:rPr>
              <a:t>Intentional?</a:t>
            </a:r>
          </a:p>
        </p:txBody>
      </p:sp>
      <p:sp>
        <p:nvSpPr>
          <p:cNvPr id="8" name="Rectangle 7"/>
          <p:cNvSpPr/>
          <p:nvPr/>
        </p:nvSpPr>
        <p:spPr>
          <a:xfrm rot="1714872">
            <a:off x="11473" y="3926940"/>
            <a:ext cx="3801042" cy="584775"/>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rtl="0">
              <a:defRPr/>
            </a:pPr>
            <a:r>
              <a:rPr lang="en" sz="3200" b="1" i="0" u="none" baseline="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Arial" charset="0"/>
                <a:ea typeface="Arial" charset="0"/>
                <a:cs typeface="Arial" charset="0"/>
              </a:rPr>
              <a:t>Not intentional?</a:t>
            </a:r>
          </a:p>
        </p:txBody>
      </p:sp>
      <p:sp>
        <p:nvSpPr>
          <p:cNvPr id="9"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en" sz="900" b="0" i="0" u="none" baseline="0">
                <a:latin typeface="Arial" pitchFamily="34" charset="0"/>
                <a:cs typeface="Arial" pitchFamily="34" charset="0"/>
              </a:rPr>
              <a:t>H3SE integration kit - TCG 4.1 - Behaviors (positive and negative) – V2</a:t>
            </a:r>
            <a:endParaRPr lang="en"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defRPr/>
            </a:pPr>
            <a:r>
              <a:rPr lang="en" b="1" i="0" u="none" baseline="0"/>
              <a:t>Assessment of the type of deviation</a:t>
            </a:r>
            <a:endParaRPr lang="en" dirty="0"/>
          </a:p>
        </p:txBody>
      </p:sp>
      <p:sp>
        <p:nvSpPr>
          <p:cNvPr id="23554"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DFB17313-296B-4732-ADDB-D854810B3799}" type="slidenum">
              <a:rPr/>
              <a:pPr algn="r" rtl="0"/>
              <a:t>12</a:t>
            </a:fld>
            <a:endParaRPr lang="en" altLang="fr-FR"/>
          </a:p>
        </p:txBody>
      </p:sp>
      <p:pic>
        <p:nvPicPr>
          <p:cNvPr id="3" name="Image 2"/>
          <p:cNvPicPr>
            <a:picLocks noChangeAspect="1"/>
          </p:cNvPicPr>
          <p:nvPr/>
        </p:nvPicPr>
        <p:blipFill>
          <a:blip r:embed="rId3"/>
          <a:stretch>
            <a:fillRect/>
          </a:stretch>
        </p:blipFill>
        <p:spPr>
          <a:xfrm>
            <a:off x="1979712" y="1052736"/>
            <a:ext cx="4726682" cy="5049275"/>
          </a:xfrm>
          <a:prstGeom prst="rect">
            <a:avLst/>
          </a:prstGeom>
        </p:spPr>
      </p:pic>
      <p:sp>
        <p:nvSpPr>
          <p:cNvPr id="6"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en" sz="900" b="0" i="0" u="none" baseline="0">
                <a:latin typeface="Arial" pitchFamily="34" charset="0"/>
                <a:cs typeface="Arial" pitchFamily="34" charset="0"/>
              </a:rPr>
              <a:t>H3SE integration kit - TCG 4.1 - Behaviors (positive and negative) – V2</a:t>
            </a:r>
            <a:endParaRPr lang="en"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defRPr/>
            </a:pPr>
            <a:r>
              <a:rPr lang="en" b="1" i="0" u="none" baseline="0"/>
              <a:t>Reaction adapted to the deviation</a:t>
            </a:r>
            <a:endParaRPr lang="en" dirty="0"/>
          </a:p>
        </p:txBody>
      </p:sp>
      <p:sp>
        <p:nvSpPr>
          <p:cNvPr id="25602" name="Espace réservé du texte 2"/>
          <p:cNvSpPr>
            <a:spLocks noGrp="1"/>
          </p:cNvSpPr>
          <p:nvPr>
            <p:ph type="body" sz="quarter" idx="12"/>
          </p:nvPr>
        </p:nvSpPr>
        <p:spPr>
          <a:xfrm>
            <a:off x="457200" y="1125538"/>
            <a:ext cx="8218488" cy="5040312"/>
          </a:xfrm>
        </p:spPr>
        <p:txBody>
          <a:bodyPr/>
          <a:lstStyle/>
          <a:p>
            <a:pPr marL="0" indent="0" algn="l" rtl="0">
              <a:buFont typeface="Lucida Grande"/>
              <a:buNone/>
            </a:pPr>
            <a:endParaRPr lang="en" altLang="fr-FR" b="1" dirty="0" smtClean="0">
              <a:cs typeface="Arial" pitchFamily="34" charset="0"/>
            </a:endParaRPr>
          </a:p>
          <a:p>
            <a:pPr marL="0" indent="0" algn="l" rtl="0">
              <a:buFont typeface="Lucida Grande"/>
              <a:buNone/>
            </a:pPr>
            <a:r>
              <a:rPr lang="en" b="0" i="0" u="none" baseline="0">
                <a:cs typeface="Arial" pitchFamily="34" charset="0"/>
              </a:rPr>
              <a:t>In the event of a deviation, </a:t>
            </a:r>
            <a:r>
              <a:rPr lang="en" b="1" i="0" u="none" baseline="0">
                <a:cs typeface="Arial" pitchFamily="34" charset="0"/>
              </a:rPr>
              <a:t>all measures must be implemented to avoid a re-occurrence of the deviation:</a:t>
            </a:r>
            <a:endParaRPr lang="en" altLang="fr-FR" dirty="0" smtClean="0">
              <a:cs typeface="Arial" pitchFamily="34" charset="0"/>
            </a:endParaRPr>
          </a:p>
          <a:p>
            <a:pPr algn="l" rtl="0"/>
            <a:r>
              <a:rPr lang="en" b="0" i="0" u="none" baseline="0">
                <a:cs typeface="Arial" pitchFamily="34" charset="0"/>
              </a:rPr>
              <a:t>React and dare to say… by using the </a:t>
            </a:r>
            <a:r>
              <a:rPr lang="en" b="1" i="0" u="none" baseline="0">
                <a:solidFill>
                  <a:srgbClr val="C00000"/>
                </a:solidFill>
                <a:cs typeface="Arial" pitchFamily="34" charset="0"/>
              </a:rPr>
              <a:t>Stop Card</a:t>
            </a:r>
            <a:r>
              <a:rPr lang="en" b="0" i="0" u="none" baseline="0">
                <a:cs typeface="Arial" pitchFamily="34" charset="0"/>
              </a:rPr>
              <a:t>.</a:t>
            </a:r>
            <a:endParaRPr lang="en" altLang="fr-FR" dirty="0" smtClean="0">
              <a:cs typeface="Arial" pitchFamily="34" charset="0"/>
            </a:endParaRPr>
          </a:p>
          <a:p>
            <a:pPr algn="l" rtl="0"/>
            <a:r>
              <a:rPr lang="en" b="0" i="0" u="none" baseline="0">
                <a:cs typeface="Arial" pitchFamily="34" charset="0"/>
              </a:rPr>
              <a:t>Bring up the event</a:t>
            </a:r>
          </a:p>
          <a:p>
            <a:endParaRPr lang="en" altLang="fr-FR" dirty="0" smtClean="0">
              <a:cs typeface="Arial" pitchFamily="34" charset="0"/>
            </a:endParaRPr>
          </a:p>
          <a:p>
            <a:pPr marL="0" indent="0" algn="l" rtl="0">
              <a:buFont typeface="Lucida Grande"/>
              <a:buNone/>
            </a:pPr>
            <a:r>
              <a:rPr lang="en" b="0" i="0" u="none" baseline="0">
                <a:cs typeface="Arial" pitchFamily="34" charset="0"/>
              </a:rPr>
              <a:t>The reaction must be adapted according to:</a:t>
            </a:r>
          </a:p>
          <a:p>
            <a:pPr algn="l" rtl="0"/>
            <a:r>
              <a:rPr lang="en" b="0" i="0" u="none" baseline="0">
                <a:cs typeface="Arial" pitchFamily="34" charset="0"/>
              </a:rPr>
              <a:t>the nature of the deviation</a:t>
            </a:r>
          </a:p>
          <a:p>
            <a:pPr algn="l" rtl="0"/>
            <a:r>
              <a:rPr lang="en" b="0" i="0" u="none" baseline="0">
                <a:cs typeface="Arial" pitchFamily="34" charset="0"/>
              </a:rPr>
              <a:t>the potential gravity of its consequences</a:t>
            </a:r>
          </a:p>
          <a:p>
            <a:pPr marL="0" indent="0" algn="l" rtl="0">
              <a:buFont typeface="Lucida Grande"/>
              <a:buNone/>
            </a:pPr>
            <a:endParaRPr lang="en" altLang="fr-FR" b="1" dirty="0" smtClean="0">
              <a:cs typeface="Arial" pitchFamily="34" charset="0"/>
            </a:endParaRPr>
          </a:p>
          <a:p>
            <a:pPr marL="0" indent="0" algn="l" rtl="0">
              <a:buFont typeface="Lucida Grande"/>
              <a:buNone/>
            </a:pPr>
            <a:endParaRPr lang="en" altLang="fr-FR" b="1" dirty="0" smtClean="0">
              <a:cs typeface="Arial" pitchFamily="34" charset="0"/>
            </a:endParaRPr>
          </a:p>
          <a:p>
            <a:pPr marL="0" indent="0" algn="l" rtl="0"/>
            <a:endParaRPr lang="en" altLang="fr-FR" dirty="0" smtClean="0">
              <a:cs typeface="Arial" pitchFamily="34" charset="0"/>
            </a:endParaRPr>
          </a:p>
        </p:txBody>
      </p:sp>
      <p:sp>
        <p:nvSpPr>
          <p:cNvPr id="25603"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C8DFAC1F-2B9F-43F1-825F-01048CCCC972}" type="slidenum">
              <a:rPr/>
              <a:pPr algn="r" rtl="0"/>
              <a:t>13</a:t>
            </a:fld>
            <a:endParaRPr lang="en" altLang="fr-FR"/>
          </a:p>
        </p:txBody>
      </p:sp>
      <p:sp>
        <p:nvSpPr>
          <p:cNvPr id="6" name="Rectangle 5"/>
          <p:cNvSpPr>
            <a:spLocks noChangeArrowheads="1"/>
          </p:cNvSpPr>
          <p:nvPr/>
        </p:nvSpPr>
        <p:spPr bwMode="auto">
          <a:xfrm>
            <a:off x="1924058" y="5229200"/>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r>
              <a:rPr lang="en" sz="800" b="0" i="0" u="none" baseline="0">
                <a:solidFill>
                  <a:srgbClr val="A90025"/>
                </a:solidFill>
              </a:rPr>
              <a:t>	</a:t>
            </a:r>
          </a:p>
          <a:p>
            <a:pPr algn="ctr" rtl="0" eaLnBrk="1" hangingPunct="1">
              <a:spcBef>
                <a:spcPts val="0"/>
              </a:spcBef>
              <a:spcAft>
                <a:spcPts val="0"/>
              </a:spcAft>
            </a:pPr>
            <a:r>
              <a:rPr lang="en" sz="2000" b="1" i="0" u="none" baseline="0">
                <a:solidFill>
                  <a:srgbClr val="A90025"/>
                </a:solidFill>
              </a:rPr>
              <a:t>Room for error exists</a:t>
            </a:r>
            <a:endParaRPr lang="en" altLang="fr-FR" sz="2000" b="1" dirty="0">
              <a:solidFill>
                <a:srgbClr val="A90025"/>
              </a:solidFill>
            </a:endParaRPr>
          </a:p>
          <a:p>
            <a:pPr algn="ctr" rtl="0" eaLnBrk="1" hangingPunct="1">
              <a:spcBef>
                <a:spcPts val="0"/>
              </a:spcBef>
              <a:spcAft>
                <a:spcPts val="0"/>
              </a:spcAft>
              <a:buFont typeface="Lucida Grande"/>
              <a:buNone/>
            </a:pPr>
            <a:endParaRPr lang="en" altLang="fr-FR" sz="800" b="1" dirty="0">
              <a:solidFill>
                <a:srgbClr val="A90025"/>
              </a:solidFill>
            </a:endParaRPr>
          </a:p>
        </p:txBody>
      </p:sp>
      <p:sp>
        <p:nvSpPr>
          <p:cNvPr id="7"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en" sz="900" b="0" i="0" u="none" baseline="0">
                <a:latin typeface="Arial" pitchFamily="34" charset="0"/>
                <a:cs typeface="Arial" pitchFamily="34" charset="0"/>
              </a:rPr>
              <a:t>H3SE integration kit - TCG 4.1 - Behaviors (positive and negative) – V2</a:t>
            </a:r>
            <a:endParaRPr lang="en"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r>
              <a:rPr lang="en" b="1" i="0" u="none" baseline="0"/>
              <a:t>summary</a:t>
            </a:r>
            <a:endParaRPr lang="en" dirty="0"/>
          </a:p>
        </p:txBody>
      </p:sp>
      <p:sp>
        <p:nvSpPr>
          <p:cNvPr id="4" name="Espace réservé du numéro de diapositive 3"/>
          <p:cNvSpPr>
            <a:spLocks noGrp="1"/>
          </p:cNvSpPr>
          <p:nvPr>
            <p:ph type="sldNum" sz="quarter" idx="4294967295"/>
          </p:nvPr>
        </p:nvSpPr>
        <p:spPr>
          <a:xfrm>
            <a:off x="6553200" y="6411913"/>
            <a:ext cx="725488" cy="365125"/>
          </a:xfrm>
          <a:prstGeom prst="rect">
            <a:avLst/>
          </a:prstGeom>
        </p:spPr>
        <p:txBody>
          <a:bodyPr/>
          <a:lstStyle/>
          <a:p>
            <a:pPr algn="r" rtl="0"/>
            <a:fld id="{CE53D222-3A21-41F0-A754-4195D86F7AE3}" type="slidenum">
              <a:rPr/>
              <a:pPr algn="r" rtl="0"/>
              <a:t>14</a:t>
            </a:fld>
            <a:endParaRPr lang="en" altLang="fr-FR"/>
          </a:p>
        </p:txBody>
      </p:sp>
      <p:sp>
        <p:nvSpPr>
          <p:cNvPr id="6" name="Rectangle 8"/>
          <p:cNvSpPr>
            <a:spLocks noChangeArrowheads="1"/>
          </p:cNvSpPr>
          <p:nvPr/>
        </p:nvSpPr>
        <p:spPr bwMode="auto">
          <a:xfrm>
            <a:off x="2062956" y="1108135"/>
            <a:ext cx="5006975" cy="923925"/>
          </a:xfrm>
          <a:prstGeom prst="rect">
            <a:avLst/>
          </a:prstGeom>
          <a:solidFill>
            <a:schemeClr val="bg1"/>
          </a:solidFill>
          <a:ln w="19050">
            <a:solidFill>
              <a:srgbClr val="BD2B0B"/>
            </a:solidFill>
            <a:miter lim="800000"/>
            <a:headEnd/>
            <a:tailEnd/>
          </a:ln>
        </p:spPr>
        <p:txBody>
          <a:bodyPr lIns="0" tIns="0" rIns="252000" bIns="0" anchor="ctr">
            <a:spAutoFit/>
          </a:bodyPr>
          <a:lstStyle/>
          <a:p>
            <a:pPr algn="ctr" rtl="0" eaLnBrk="1" hangingPunct="1">
              <a:spcBef>
                <a:spcPts val="0"/>
              </a:spcBef>
              <a:spcAft>
                <a:spcPts val="0"/>
              </a:spcAft>
              <a:tabLst>
                <a:tab pos="1438275" algn="l"/>
              </a:tabLst>
            </a:pPr>
            <a:r>
              <a:rPr lang="en" sz="2000" b="1" i="0" u="none" baseline="0" dirty="0">
                <a:solidFill>
                  <a:srgbClr val="00B050"/>
                </a:solidFill>
                <a:latin typeface="Arial" charset="0"/>
                <a:ea typeface="Arial" charset="0"/>
                <a:cs typeface="Arial" charset="0"/>
              </a:rPr>
              <a:t>Behavior = observable </a:t>
            </a:r>
            <a:r>
              <a:rPr lang="en" sz="2000" b="1" i="0" u="none" baseline="0" dirty="0" smtClean="0">
                <a:solidFill>
                  <a:srgbClr val="00B050"/>
                </a:solidFill>
                <a:latin typeface="Arial" charset="0"/>
                <a:ea typeface="Arial" charset="0"/>
                <a:cs typeface="Arial" charset="0"/>
              </a:rPr>
              <a:t>action</a:t>
            </a:r>
            <a:endParaRPr lang="en" sz="2000" b="1" dirty="0">
              <a:solidFill>
                <a:srgbClr val="E20031"/>
              </a:solidFill>
              <a:latin typeface="Arial" charset="0"/>
              <a:ea typeface="Arial" charset="0"/>
              <a:cs typeface="Arial" charset="0"/>
              <a:sym typeface="Symbol" pitchFamily="18" charset="2"/>
            </a:endParaRPr>
          </a:p>
          <a:p>
            <a:pPr algn="ctr" rtl="0" eaLnBrk="1" hangingPunct="1">
              <a:spcBef>
                <a:spcPts val="0"/>
              </a:spcBef>
              <a:spcAft>
                <a:spcPts val="0"/>
              </a:spcAft>
              <a:tabLst>
                <a:tab pos="1438275" algn="l"/>
              </a:tabLst>
            </a:pPr>
            <a:r>
              <a:rPr lang="en" sz="2000" b="1" i="0" u="none" baseline="0" dirty="0" smtClean="0">
                <a:solidFill>
                  <a:srgbClr val="A90025"/>
                </a:solidFill>
                <a:sym typeface="Symbol" pitchFamily="18" charset="2"/>
              </a:rPr>
              <a:t>Behavior </a:t>
            </a:r>
            <a:r>
              <a:rPr lang="en" sz="2000" b="1" i="0" u="none" baseline="0" dirty="0">
                <a:solidFill>
                  <a:srgbClr val="A90025"/>
                </a:solidFill>
                <a:sym typeface="Symbol" pitchFamily="18" charset="2"/>
              </a:rPr>
              <a:t> </a:t>
            </a:r>
            <a:r>
              <a:rPr lang="en" sz="2000" b="1" i="0" u="none" baseline="0" dirty="0">
                <a:solidFill>
                  <a:srgbClr val="A90025"/>
                </a:solidFill>
              </a:rPr>
              <a:t>intention</a:t>
            </a:r>
          </a:p>
          <a:p>
            <a:pPr algn="ctr" rtl="0" eaLnBrk="1" hangingPunct="1">
              <a:spcBef>
                <a:spcPts val="0"/>
              </a:spcBef>
              <a:spcAft>
                <a:spcPts val="0"/>
              </a:spcAft>
              <a:tabLst>
                <a:tab pos="1438275" algn="l"/>
              </a:tabLst>
            </a:pPr>
            <a:r>
              <a:rPr lang="en" sz="2000" b="1" i="0" u="none" baseline="0" dirty="0">
                <a:solidFill>
                  <a:srgbClr val="A90025"/>
                </a:solidFill>
                <a:sym typeface="Symbol" pitchFamily="18" charset="2"/>
              </a:rPr>
              <a:t>Behavior  </a:t>
            </a:r>
            <a:r>
              <a:rPr lang="en" sz="2000" b="1" i="0" u="none" baseline="0" dirty="0">
                <a:solidFill>
                  <a:srgbClr val="A90025"/>
                </a:solidFill>
              </a:rPr>
              <a:t>opinion</a:t>
            </a:r>
            <a:endParaRPr lang="en" altLang="fr-FR" sz="2000" b="1" dirty="0">
              <a:solidFill>
                <a:srgbClr val="A90025"/>
              </a:solidFill>
            </a:endParaRPr>
          </a:p>
        </p:txBody>
      </p:sp>
      <p:sp>
        <p:nvSpPr>
          <p:cNvPr id="7" name="Rectangle 8"/>
          <p:cNvSpPr>
            <a:spLocks noChangeArrowheads="1"/>
          </p:cNvSpPr>
          <p:nvPr/>
        </p:nvSpPr>
        <p:spPr bwMode="auto">
          <a:xfrm>
            <a:off x="2062955" y="2403361"/>
            <a:ext cx="5006975"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en" altLang="fr-FR" sz="800" b="1" dirty="0" smtClean="0">
              <a:solidFill>
                <a:srgbClr val="A90025"/>
              </a:solidFill>
            </a:endParaRPr>
          </a:p>
          <a:p>
            <a:pPr algn="ctr" rtl="0" eaLnBrk="1" hangingPunct="1">
              <a:spcBef>
                <a:spcPts val="0"/>
              </a:spcBef>
              <a:spcAft>
                <a:spcPts val="0"/>
              </a:spcAft>
              <a:buFont typeface="Lucida Grande"/>
              <a:buNone/>
            </a:pPr>
            <a:r>
              <a:rPr lang="en" sz="2000" b="1" i="0" u="none" baseline="0">
                <a:solidFill>
                  <a:srgbClr val="A90025"/>
                </a:solidFill>
              </a:rPr>
              <a:t>Know the regulations </a:t>
            </a:r>
            <a:r>
              <a:rPr lang="en" sz="2000" b="1" i="0" u="sng" baseline="0">
                <a:solidFill>
                  <a:srgbClr val="A90025"/>
                </a:solidFill>
              </a:rPr>
              <a:t>and</a:t>
            </a:r>
            <a:r>
              <a:rPr lang="en" sz="2000" b="1" i="0" u="none" baseline="0">
                <a:solidFill>
                  <a:srgbClr val="A90025"/>
                </a:solidFill>
              </a:rPr>
              <a:t> apply them</a:t>
            </a:r>
          </a:p>
          <a:p>
            <a:pPr algn="ctr" rtl="0" eaLnBrk="1" hangingPunct="1">
              <a:spcBef>
                <a:spcPts val="0"/>
              </a:spcBef>
              <a:spcAft>
                <a:spcPts val="0"/>
              </a:spcAft>
              <a:buFont typeface="Lucida Grande"/>
              <a:buNone/>
            </a:pPr>
            <a:endParaRPr lang="en" altLang="fr-FR" sz="800" b="1" dirty="0">
              <a:solidFill>
                <a:srgbClr val="A90025"/>
              </a:solidFill>
            </a:endParaRPr>
          </a:p>
        </p:txBody>
      </p:sp>
      <p:sp>
        <p:nvSpPr>
          <p:cNvPr id="8" name="Rectangle 8"/>
          <p:cNvSpPr>
            <a:spLocks noChangeArrowheads="1"/>
          </p:cNvSpPr>
          <p:nvPr/>
        </p:nvSpPr>
        <p:spPr bwMode="auto">
          <a:xfrm>
            <a:off x="1562888" y="3328660"/>
            <a:ext cx="6007107"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en" altLang="fr-FR" sz="800" b="1" dirty="0" smtClean="0">
              <a:solidFill>
                <a:srgbClr val="A90025"/>
              </a:solidFill>
            </a:endParaRPr>
          </a:p>
          <a:p>
            <a:pPr algn="ctr" rtl="0" eaLnBrk="1" hangingPunct="1">
              <a:spcBef>
                <a:spcPts val="0"/>
              </a:spcBef>
              <a:spcAft>
                <a:spcPts val="0"/>
              </a:spcAft>
              <a:buFont typeface="Lucida Grande"/>
              <a:buNone/>
            </a:pPr>
            <a:r>
              <a:rPr lang="en" sz="2000" b="1" i="0" u="none" baseline="0" dirty="0">
                <a:solidFill>
                  <a:srgbClr val="A90025"/>
                </a:solidFill>
              </a:rPr>
              <a:t>Practice recognition on a daily basis</a:t>
            </a:r>
          </a:p>
          <a:p>
            <a:pPr algn="ctr" rtl="0" eaLnBrk="1" hangingPunct="1">
              <a:spcBef>
                <a:spcPts val="0"/>
              </a:spcBef>
              <a:spcAft>
                <a:spcPts val="0"/>
              </a:spcAft>
              <a:buFont typeface="Lucida Grande"/>
              <a:buNone/>
            </a:pPr>
            <a:endParaRPr lang="en" altLang="fr-FR" sz="800" b="1" dirty="0">
              <a:solidFill>
                <a:srgbClr val="A90025"/>
              </a:solidFill>
            </a:endParaRPr>
          </a:p>
        </p:txBody>
      </p:sp>
      <p:sp>
        <p:nvSpPr>
          <p:cNvPr id="9" name="Rectangle 8"/>
          <p:cNvSpPr>
            <a:spLocks noChangeArrowheads="1"/>
          </p:cNvSpPr>
          <p:nvPr/>
        </p:nvSpPr>
        <p:spPr bwMode="auto">
          <a:xfrm>
            <a:off x="1924055" y="4253959"/>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en" altLang="fr-FR" sz="800" b="1" dirty="0" smtClean="0">
              <a:solidFill>
                <a:srgbClr val="A90025"/>
              </a:solidFill>
            </a:endParaRPr>
          </a:p>
          <a:p>
            <a:pPr algn="ctr" rtl="0" eaLnBrk="1" hangingPunct="1">
              <a:spcBef>
                <a:spcPts val="0"/>
              </a:spcBef>
              <a:spcAft>
                <a:spcPts val="0"/>
              </a:spcAft>
              <a:buFont typeface="Lucida Grande"/>
              <a:buNone/>
            </a:pPr>
            <a:r>
              <a:rPr lang="en" sz="2000" b="1" i="0" u="none" baseline="0" dirty="0">
                <a:solidFill>
                  <a:srgbClr val="A90025"/>
                </a:solidFill>
              </a:rPr>
              <a:t>Any deviation must lead to a reaction</a:t>
            </a:r>
          </a:p>
          <a:p>
            <a:pPr algn="ctr" rtl="0" eaLnBrk="1" hangingPunct="1">
              <a:spcBef>
                <a:spcPts val="0"/>
              </a:spcBef>
              <a:spcAft>
                <a:spcPts val="0"/>
              </a:spcAft>
              <a:buFont typeface="Lucida Grande"/>
              <a:buNone/>
            </a:pPr>
            <a:endParaRPr lang="en" altLang="fr-FR" sz="800" b="1" dirty="0">
              <a:solidFill>
                <a:srgbClr val="A90025"/>
              </a:solidFill>
            </a:endParaRPr>
          </a:p>
        </p:txBody>
      </p:sp>
      <p:sp>
        <p:nvSpPr>
          <p:cNvPr id="10" name="Rectangle 9"/>
          <p:cNvSpPr>
            <a:spLocks noChangeArrowheads="1"/>
          </p:cNvSpPr>
          <p:nvPr/>
        </p:nvSpPr>
        <p:spPr bwMode="auto">
          <a:xfrm>
            <a:off x="1924054" y="5179258"/>
            <a:ext cx="5284771"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r>
              <a:rPr lang="en" sz="800" b="0" i="0" u="none" baseline="0">
                <a:solidFill>
                  <a:srgbClr val="A90025"/>
                </a:solidFill>
              </a:rPr>
              <a:t>	</a:t>
            </a:r>
          </a:p>
          <a:p>
            <a:pPr algn="ctr" rtl="0" eaLnBrk="1" hangingPunct="1">
              <a:spcBef>
                <a:spcPts val="0"/>
              </a:spcBef>
              <a:spcAft>
                <a:spcPts val="0"/>
              </a:spcAft>
            </a:pPr>
            <a:r>
              <a:rPr lang="en" sz="2000" b="1" i="0" u="none" baseline="0">
                <a:solidFill>
                  <a:srgbClr val="A90025"/>
                </a:solidFill>
              </a:rPr>
              <a:t>Room for error exists</a:t>
            </a:r>
            <a:endParaRPr lang="en" altLang="fr-FR" sz="2000" b="1" dirty="0">
              <a:solidFill>
                <a:srgbClr val="A90025"/>
              </a:solidFill>
            </a:endParaRPr>
          </a:p>
          <a:p>
            <a:pPr algn="ctr" rtl="0" eaLnBrk="1" hangingPunct="1">
              <a:spcBef>
                <a:spcPts val="0"/>
              </a:spcBef>
              <a:spcAft>
                <a:spcPts val="0"/>
              </a:spcAft>
              <a:buFont typeface="Lucida Grande"/>
              <a:buNone/>
            </a:pPr>
            <a:endParaRPr lang="en" altLang="fr-FR" sz="800" b="1" dirty="0">
              <a:solidFill>
                <a:srgbClr val="A90025"/>
              </a:solidFill>
            </a:endParaRPr>
          </a:p>
        </p:txBody>
      </p:sp>
      <p:sp>
        <p:nvSpPr>
          <p:cNvPr id="11"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en" sz="900" b="0" i="0" u="none" baseline="0">
                <a:latin typeface="Arial" pitchFamily="34" charset="0"/>
                <a:cs typeface="Arial" pitchFamily="34" charset="0"/>
              </a:rPr>
              <a:t>H3SE integration kit - TCG 4.1 - Behaviors (positive and negative) – V2</a:t>
            </a:r>
            <a:endParaRPr lang="en" altLang="fr-FR" sz="900" dirty="0" smtClean="0">
              <a:latin typeface="Arial" pitchFamily="34" charset="0"/>
              <a:cs typeface="Arial" pitchFamily="34" charset="0"/>
            </a:endParaRPr>
          </a:p>
        </p:txBody>
      </p:sp>
    </p:spTree>
    <p:extLst>
      <p:ext uri="{BB962C8B-B14F-4D97-AF65-F5344CB8AC3E}">
        <p14:creationId xmlns:p14="http://schemas.microsoft.com/office/powerpoint/2010/main" xmlns="" val="20522809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Espace réservé du numéro de diapositive 2"/>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279238B1-A10D-48F3-B24F-D9C121A8AEF7}" type="slidenum">
              <a:rPr/>
              <a:pPr algn="r" rtl="0"/>
              <a:t>2</a:t>
            </a:fld>
            <a:endParaRPr lang="en" altLang="fr-FR"/>
          </a:p>
        </p:txBody>
      </p:sp>
      <p:sp>
        <p:nvSpPr>
          <p:cNvPr id="8" name="Titre 3"/>
          <p:cNvSpPr>
            <a:spLocks noGrp="1"/>
          </p:cNvSpPr>
          <p:nvPr>
            <p:ph type="title"/>
          </p:nvPr>
        </p:nvSpPr>
        <p:spPr/>
        <p:txBody>
          <a:bodyPr/>
          <a:lstStyle/>
          <a:p>
            <a:pPr algn="l" rtl="0" eaLnBrk="1" fontAlgn="auto" hangingPunct="1">
              <a:spcAft>
                <a:spcPts val="0"/>
              </a:spcAft>
              <a:defRPr/>
            </a:pPr>
            <a:r>
              <a:rPr lang="en" b="1" i="0" u="none" baseline="0">
                <a:solidFill>
                  <a:schemeClr val="accent3">
                    <a:lumMod val="75000"/>
                  </a:schemeClr>
                </a:solidFill>
                <a:ea typeface="+mj-ea"/>
              </a:rPr>
              <a:t>Module objectives</a:t>
            </a:r>
            <a:endParaRPr lang="en" dirty="0">
              <a:solidFill>
                <a:schemeClr val="accent3">
                  <a:lumMod val="75000"/>
                </a:schemeClr>
              </a:solidFill>
              <a:ea typeface="+mj-ea"/>
            </a:endParaRPr>
          </a:p>
        </p:txBody>
      </p:sp>
      <p:sp>
        <p:nvSpPr>
          <p:cNvPr id="15363" name="Espace réservé du contenu 4"/>
          <p:cNvSpPr>
            <a:spLocks noGrp="1"/>
          </p:cNvSpPr>
          <p:nvPr>
            <p:ph type="body" sz="quarter" idx="12"/>
          </p:nvPr>
        </p:nvSpPr>
        <p:spPr>
          <a:xfrm>
            <a:off x="457200" y="1773238"/>
            <a:ext cx="8218488" cy="2735882"/>
          </a:xfrm>
        </p:spPr>
        <p:txBody>
          <a:bodyPr>
            <a:normAutofit fontScale="70000" lnSpcReduction="20000"/>
          </a:bodyPr>
          <a:lstStyle/>
          <a:p>
            <a:pPr marL="0" indent="0" algn="l" rtl="0" eaLnBrk="1" hangingPunct="1">
              <a:buFont typeface="Lucida Grande"/>
              <a:buNone/>
            </a:pPr>
            <a:r>
              <a:rPr lang="en" b="1" i="0" u="none" baseline="0">
                <a:cs typeface="Arial" pitchFamily="34" charset="0"/>
              </a:rPr>
              <a:t>At the end of this module, you:</a:t>
            </a:r>
          </a:p>
          <a:p>
            <a:pPr marL="0" indent="0" algn="l" rtl="0" eaLnBrk="1" hangingPunct="1"/>
            <a:endParaRPr lang="en" altLang="fr-FR" dirty="0" smtClean="0">
              <a:cs typeface="Arial" pitchFamily="34" charset="0"/>
            </a:endParaRPr>
          </a:p>
          <a:p>
            <a:pPr marL="284400" indent="-284400" algn="l" rtl="0" eaLnBrk="1" hangingPunct="1"/>
            <a:r>
              <a:rPr lang="en" b="0" i="0" u="none" baseline="0">
                <a:cs typeface="Arial" pitchFamily="34" charset="0"/>
              </a:rPr>
              <a:t>Will understand that behavioral errors can have major consequences (HIPO, accidents, etc.).</a:t>
            </a:r>
          </a:p>
          <a:p>
            <a:pPr marL="284400" indent="-284400" algn="l" rtl="0" eaLnBrk="1" hangingPunct="1"/>
            <a:r>
              <a:rPr lang="en" b="0" i="0" u="none" baseline="0">
                <a:cs typeface="Arial" pitchFamily="34" charset="0"/>
              </a:rPr>
              <a:t>Will know the HSE behavior expected of Total employees.</a:t>
            </a:r>
          </a:p>
          <a:p>
            <a:pPr marL="284400" indent="-284400" algn="l" rtl="0" eaLnBrk="1" hangingPunct="1"/>
            <a:r>
              <a:rPr lang="en" b="0" i="0" u="none" baseline="0">
                <a:cs typeface="Arial" pitchFamily="34" charset="0"/>
              </a:rPr>
              <a:t>Will be able to identify positive behavior to be encouraged and negative behavior on which action should be taken within Total.</a:t>
            </a:r>
          </a:p>
          <a:p>
            <a:pPr marL="0" indent="0" algn="l" rtl="0" eaLnBrk="1" hangingPunct="1"/>
            <a:endParaRPr lang="en" altLang="fr-FR" dirty="0" smtClean="0">
              <a:cs typeface="Arial" pitchFamily="34" charset="0"/>
            </a:endParaRPr>
          </a:p>
          <a:p>
            <a:pPr marL="0" indent="0" algn="l" rtl="0" eaLnBrk="1" hangingPunct="1"/>
            <a:endParaRPr lang="en" altLang="fr-FR" dirty="0" smtClean="0">
              <a:cs typeface="Arial" pitchFamily="34" charset="0"/>
            </a:endParaRPr>
          </a:p>
          <a:p>
            <a:pPr marL="0" indent="0" algn="l" rtl="0" eaLnBrk="1" hangingPunct="1"/>
            <a:endParaRPr lang="en" altLang="fr-FR" dirty="0" smtClean="0">
              <a:cs typeface="Arial" pitchFamily="34" charset="0"/>
            </a:endParaRPr>
          </a:p>
          <a:p>
            <a:pPr marL="0" indent="0" algn="l" rtl="0" eaLnBrk="1" hangingPunct="1">
              <a:buFont typeface="Lucida Grande"/>
              <a:buNone/>
            </a:pPr>
            <a:r>
              <a:rPr lang="en" sz="1600" b="0" i="1" u="none" baseline="0">
                <a:cs typeface="Arial" pitchFamily="34" charset="0"/>
              </a:rPr>
              <a:t>*HIPO = HIgh POtential incidents</a:t>
            </a:r>
          </a:p>
        </p:txBody>
      </p:sp>
      <p:sp>
        <p:nvSpPr>
          <p:cNvPr id="15364"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en" sz="900" b="0" i="0" u="none" baseline="0">
                <a:latin typeface="Arial" pitchFamily="34" charset="0"/>
                <a:cs typeface="Arial" pitchFamily="34" charset="0"/>
              </a:rPr>
              <a:t>H3SE integration kit - TCG 4.1 - Behaviors (positive and negative) – V2</a:t>
            </a:r>
            <a:endParaRPr lang="en"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r>
              <a:rPr lang="en" b="1" i="0" u="none" baseline="0"/>
              <a:t>Feedback video</a:t>
            </a:r>
            <a:endParaRPr lang="en" dirty="0"/>
          </a:p>
        </p:txBody>
      </p:sp>
      <p:sp>
        <p:nvSpPr>
          <p:cNvPr id="4" name="Espace réservé du numéro de diapositive 3"/>
          <p:cNvSpPr>
            <a:spLocks noGrp="1"/>
          </p:cNvSpPr>
          <p:nvPr>
            <p:ph type="sldNum" sz="quarter" idx="4294967295"/>
          </p:nvPr>
        </p:nvSpPr>
        <p:spPr>
          <a:xfrm>
            <a:off x="6553200" y="6411913"/>
            <a:ext cx="725488" cy="365125"/>
          </a:xfrm>
          <a:prstGeom prst="rect">
            <a:avLst/>
          </a:prstGeom>
        </p:spPr>
        <p:txBody>
          <a:bodyPr/>
          <a:lstStyle/>
          <a:p>
            <a:pPr algn="r" rtl="0"/>
            <a:fld id="{CE53D222-3A21-41F0-A754-4195D86F7AE3}" type="slidenum">
              <a:rPr/>
              <a:pPr algn="r" rtl="0"/>
              <a:t>3</a:t>
            </a:fld>
            <a:endParaRPr lang="en" altLang="fr-FR"/>
          </a:p>
        </p:txBody>
      </p:sp>
      <p:pic>
        <p:nvPicPr>
          <p:cNvPr id="6" name="Image 5">
            <a:hlinkClick r:id="rId2"/>
          </p:cNvPr>
          <p:cNvPicPr>
            <a:picLocks noChangeAspect="1"/>
          </p:cNvPicPr>
          <p:nvPr/>
        </p:nvPicPr>
        <p:blipFill>
          <a:blip r:embed="rId3"/>
          <a:stretch>
            <a:fillRect/>
          </a:stretch>
        </p:blipFill>
        <p:spPr>
          <a:xfrm>
            <a:off x="2440669" y="1916832"/>
            <a:ext cx="4251549" cy="3168352"/>
          </a:xfrm>
          <a:prstGeom prst="rect">
            <a:avLst/>
          </a:prstGeom>
        </p:spPr>
      </p:pic>
      <p:sp>
        <p:nvSpPr>
          <p:cNvPr id="7"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en" sz="900" b="0" i="0" u="none" baseline="0">
                <a:latin typeface="Arial" pitchFamily="34" charset="0"/>
                <a:cs typeface="Arial" pitchFamily="34" charset="0"/>
              </a:rPr>
              <a:t>H3SE integration kit - TCG 4.1 - Behaviors (positive and negative) – V2</a:t>
            </a:r>
            <a:endParaRPr lang="en" altLang="fr-FR" sz="900" dirty="0" smtClean="0">
              <a:latin typeface="Arial" pitchFamily="34" charset="0"/>
              <a:cs typeface="Arial" pitchFamily="34" charset="0"/>
            </a:endParaRPr>
          </a:p>
        </p:txBody>
      </p:sp>
    </p:spTree>
    <p:extLst>
      <p:ext uri="{BB962C8B-B14F-4D97-AF65-F5344CB8AC3E}">
        <p14:creationId xmlns:p14="http://schemas.microsoft.com/office/powerpoint/2010/main" xmlns="" val="19219237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52CC1649-3A62-4590-9077-6808426157B9}" type="slidenum">
              <a:rPr/>
              <a:pPr algn="r" rtl="0"/>
              <a:t>4</a:t>
            </a:fld>
            <a:endParaRPr lang="en" altLang="fr-FR"/>
          </a:p>
        </p:txBody>
      </p:sp>
      <p:sp>
        <p:nvSpPr>
          <p:cNvPr id="16387" name="Espace réservé du texte 2"/>
          <p:cNvSpPr>
            <a:spLocks noGrp="1"/>
          </p:cNvSpPr>
          <p:nvPr>
            <p:ph type="body" sz="quarter" idx="12"/>
          </p:nvPr>
        </p:nvSpPr>
        <p:spPr>
          <a:xfrm>
            <a:off x="457200" y="1562230"/>
            <a:ext cx="8435280" cy="4392612"/>
          </a:xfrm>
        </p:spPr>
        <p:txBody>
          <a:bodyPr/>
          <a:lstStyle/>
          <a:p>
            <a:pPr marL="0" indent="0" algn="l" rtl="0" eaLnBrk="1" hangingPunct="1">
              <a:lnSpc>
                <a:spcPct val="80000"/>
              </a:lnSpc>
              <a:buFont typeface="Lucida Grande"/>
              <a:buNone/>
            </a:pPr>
            <a:r>
              <a:rPr lang="en" b="1" i="0" u="none" baseline="0" dirty="0">
                <a:cs typeface="Arial" pitchFamily="34" charset="0"/>
              </a:rPr>
              <a:t>Safety rests on 3 pillars:</a:t>
            </a:r>
          </a:p>
          <a:p>
            <a:pPr marL="0" indent="0" algn="l" rtl="0" eaLnBrk="1" hangingPunct="1">
              <a:lnSpc>
                <a:spcPct val="80000"/>
              </a:lnSpc>
              <a:buFont typeface="Lucida Grande"/>
              <a:buNone/>
            </a:pPr>
            <a:endParaRPr lang="en" altLang="fr-FR" sz="1700" dirty="0" smtClean="0">
              <a:cs typeface="Arial" pitchFamily="34" charset="0"/>
            </a:endParaRPr>
          </a:p>
          <a:p>
            <a:pPr marL="284400" indent="-284400" algn="l" rtl="0" eaLnBrk="1" hangingPunct="1">
              <a:lnSpc>
                <a:spcPct val="80000"/>
              </a:lnSpc>
            </a:pPr>
            <a:r>
              <a:rPr lang="en" b="0" i="0" u="none" baseline="0" dirty="0">
                <a:cs typeface="Arial" pitchFamily="34" charset="0"/>
              </a:rPr>
              <a:t>The way in which the facilities/equipment are designed/built.</a:t>
            </a:r>
          </a:p>
          <a:p>
            <a:pPr marL="284400" indent="-284400" algn="l" rtl="0" eaLnBrk="1" hangingPunct="1">
              <a:lnSpc>
                <a:spcPct val="80000"/>
              </a:lnSpc>
            </a:pPr>
            <a:r>
              <a:rPr lang="en" b="0" i="0" u="none" baseline="0" dirty="0">
                <a:cs typeface="Arial" pitchFamily="34" charset="0"/>
              </a:rPr>
              <a:t>A management system (regulations, procedures, responsibilities, etc.)</a:t>
            </a:r>
          </a:p>
          <a:p>
            <a:pPr marL="284400" indent="-284400" algn="l" rtl="0" eaLnBrk="1" hangingPunct="1">
              <a:lnSpc>
                <a:spcPct val="80000"/>
              </a:lnSpc>
            </a:pPr>
            <a:r>
              <a:rPr lang="en" b="0" i="0" u="none" baseline="0" dirty="0">
                <a:cs typeface="Arial" pitchFamily="34" charset="0"/>
              </a:rPr>
              <a:t>Human behaviors </a:t>
            </a:r>
          </a:p>
          <a:p>
            <a:pPr marL="0" indent="0" algn="l" rtl="0" eaLnBrk="1" hangingPunct="1">
              <a:lnSpc>
                <a:spcPct val="80000"/>
              </a:lnSpc>
            </a:pPr>
            <a:endParaRPr lang="en" altLang="fr-FR" sz="1800" dirty="0" smtClean="0">
              <a:cs typeface="Arial" pitchFamily="34" charset="0"/>
            </a:endParaRPr>
          </a:p>
          <a:p>
            <a:pPr marL="0" indent="0" algn="l" rtl="0" eaLnBrk="1" hangingPunct="1">
              <a:lnSpc>
                <a:spcPct val="80000"/>
              </a:lnSpc>
            </a:pPr>
            <a:endParaRPr lang="en" altLang="fr-FR" sz="1800" dirty="0" smtClean="0">
              <a:cs typeface="Arial" pitchFamily="34" charset="0"/>
            </a:endParaRPr>
          </a:p>
          <a:p>
            <a:pPr marL="0" indent="0" algn="l" rtl="0" eaLnBrk="1" hangingPunct="1">
              <a:lnSpc>
                <a:spcPct val="80000"/>
              </a:lnSpc>
            </a:pPr>
            <a:endParaRPr lang="en" altLang="fr-FR" sz="1800" dirty="0" smtClean="0">
              <a:cs typeface="Arial" pitchFamily="34" charset="0"/>
            </a:endParaRPr>
          </a:p>
          <a:p>
            <a:pPr marL="0" indent="0" algn="ctr" rtl="0" eaLnBrk="1" hangingPunct="1">
              <a:lnSpc>
                <a:spcPct val="80000"/>
              </a:lnSpc>
              <a:buFont typeface="Lucida Grande"/>
              <a:buNone/>
            </a:pPr>
            <a:r>
              <a:rPr lang="en" sz="1800" b="0" i="0" u="none" baseline="0" dirty="0">
                <a:cs typeface="Arial" pitchFamily="34" charset="0"/>
              </a:rPr>
              <a:t>Between 60% and 80% of accidents at the workstation                 </a:t>
            </a:r>
            <a:endParaRPr lang="en" altLang="fr-FR" sz="1800" dirty="0" smtClean="0">
              <a:cs typeface="Arial" pitchFamily="34" charset="0"/>
            </a:endParaRPr>
          </a:p>
          <a:p>
            <a:pPr marL="0" indent="0" algn="ctr" rtl="0" eaLnBrk="1" hangingPunct="1">
              <a:lnSpc>
                <a:spcPct val="80000"/>
              </a:lnSpc>
              <a:buFont typeface="Lucida Grande"/>
              <a:buNone/>
            </a:pPr>
            <a:endParaRPr lang="en" altLang="fr-FR" sz="1800" dirty="0" smtClean="0">
              <a:cs typeface="Arial" pitchFamily="34" charset="0"/>
            </a:endParaRPr>
          </a:p>
          <a:p>
            <a:pPr marL="0" indent="0" algn="ctr" rtl="0" eaLnBrk="1" hangingPunct="1">
              <a:lnSpc>
                <a:spcPct val="80000"/>
              </a:lnSpc>
              <a:buFont typeface="Lucida Grande"/>
              <a:buNone/>
            </a:pPr>
            <a:endParaRPr lang="en" altLang="fr-FR" sz="1800" dirty="0" smtClean="0">
              <a:cs typeface="Arial" pitchFamily="34" charset="0"/>
            </a:endParaRPr>
          </a:p>
          <a:p>
            <a:pPr marL="0" indent="0" algn="ctr" rtl="0" eaLnBrk="1" hangingPunct="1">
              <a:lnSpc>
                <a:spcPct val="80000"/>
              </a:lnSpc>
              <a:buFont typeface="Lucida Grande"/>
              <a:buNone/>
            </a:pPr>
            <a:endParaRPr lang="en" altLang="fr-FR" sz="1800" dirty="0" smtClean="0">
              <a:cs typeface="Arial" pitchFamily="34" charset="0"/>
            </a:endParaRPr>
          </a:p>
          <a:p>
            <a:pPr marL="0" indent="0" algn="ctr" rtl="0" eaLnBrk="1" hangingPunct="1">
              <a:lnSpc>
                <a:spcPct val="80000"/>
              </a:lnSpc>
              <a:buFont typeface="Lucida Grande"/>
              <a:buNone/>
            </a:pPr>
            <a:r>
              <a:rPr lang="en" sz="1800" b="0" i="0" u="none" baseline="0" dirty="0">
                <a:cs typeface="Arial" pitchFamily="34" charset="0"/>
              </a:rPr>
              <a:t>behavioral causes</a:t>
            </a:r>
            <a:endParaRPr lang="en" altLang="fr-FR" sz="1800" dirty="0">
              <a:cs typeface="Arial" pitchFamily="34" charset="0"/>
            </a:endParaRPr>
          </a:p>
          <a:p>
            <a:pPr marL="0" indent="0" algn="ctr" rtl="0" eaLnBrk="1" hangingPunct="1">
              <a:lnSpc>
                <a:spcPct val="80000"/>
              </a:lnSpc>
              <a:buFont typeface="Lucida Grande"/>
              <a:buNone/>
            </a:pPr>
            <a:endParaRPr lang="en" altLang="fr-FR" sz="1800" dirty="0" smtClean="0">
              <a:cs typeface="Arial" pitchFamily="34" charset="0"/>
            </a:endParaRPr>
          </a:p>
        </p:txBody>
      </p:sp>
      <p:sp>
        <p:nvSpPr>
          <p:cNvPr id="8" name="Flèche vers la droite 7"/>
          <p:cNvSpPr/>
          <p:nvPr/>
        </p:nvSpPr>
        <p:spPr>
          <a:xfrm rot="5400000">
            <a:off x="4175919" y="4482579"/>
            <a:ext cx="792163" cy="557213"/>
          </a:xfrm>
          <a:prstGeom prst="rightArrow">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rtl="0" eaLnBrk="1" hangingPunct="1"/>
            <a:endParaRPr lang="en" altLang="fr-FR">
              <a:solidFill>
                <a:srgbClr val="FFFFFF"/>
              </a:solidFill>
              <a:cs typeface="Arial" pitchFamily="34" charset="0"/>
            </a:endParaRPr>
          </a:p>
        </p:txBody>
      </p:sp>
      <p:sp>
        <p:nvSpPr>
          <p:cNvPr id="2" name="Titre 1"/>
          <p:cNvSpPr>
            <a:spLocks noGrp="1"/>
          </p:cNvSpPr>
          <p:nvPr>
            <p:ph type="title"/>
          </p:nvPr>
        </p:nvSpPr>
        <p:spPr/>
        <p:txBody>
          <a:bodyPr wrap="square" numCol="1" anchorCtr="0" compatLnSpc="1">
            <a:prstTxWarp prst="textNoShape">
              <a:avLst/>
            </a:prstTxWarp>
          </a:bodyPr>
          <a:lstStyle/>
          <a:p>
            <a:pPr algn="l" rtl="0"/>
            <a:r>
              <a:rPr lang="en" b="1" i="0" u="none" baseline="0">
                <a:cs typeface="Arial" pitchFamily="34" charset="0"/>
              </a:rPr>
              <a:t>The 3 pillars of safety</a:t>
            </a:r>
          </a:p>
        </p:txBody>
      </p:sp>
      <p:sp>
        <p:nvSpPr>
          <p:cNvPr id="7"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en" sz="900" b="0" i="0" u="none" baseline="0">
                <a:latin typeface="Arial" pitchFamily="34" charset="0"/>
                <a:cs typeface="Arial" pitchFamily="34" charset="0"/>
              </a:rPr>
              <a:t>H3SE integration kit - TCG 4.1 - Behaviors (positive and negative) – V2</a:t>
            </a:r>
            <a:endParaRPr lang="en"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6406824" y="2276872"/>
            <a:ext cx="2629672" cy="2023377"/>
          </a:xfrm>
          <a:prstGeom prst="rect">
            <a:avLst/>
          </a:prstGeom>
        </p:spPr>
      </p:pic>
      <p:sp>
        <p:nvSpPr>
          <p:cNvPr id="2" name="Titre 1"/>
          <p:cNvSpPr>
            <a:spLocks noGrp="1"/>
          </p:cNvSpPr>
          <p:nvPr>
            <p:ph type="title"/>
          </p:nvPr>
        </p:nvSpPr>
        <p:spPr/>
        <p:txBody>
          <a:bodyPr/>
          <a:lstStyle/>
          <a:p>
            <a:pPr algn="l" rtl="0" eaLnBrk="1" hangingPunct="1">
              <a:defRPr/>
            </a:pPr>
            <a:r>
              <a:rPr lang="en" b="1" i="0" u="none" baseline="0"/>
              <a:t>Definition of behavior</a:t>
            </a:r>
            <a:endParaRPr lang="en" dirty="0"/>
          </a:p>
        </p:txBody>
      </p:sp>
      <p:sp>
        <p:nvSpPr>
          <p:cNvPr id="17410" name="Espace réservé du texte 2"/>
          <p:cNvSpPr>
            <a:spLocks noGrp="1"/>
          </p:cNvSpPr>
          <p:nvPr>
            <p:ph type="body" sz="quarter" idx="12"/>
          </p:nvPr>
        </p:nvSpPr>
        <p:spPr>
          <a:xfrm>
            <a:off x="251520" y="981075"/>
            <a:ext cx="7993063" cy="5040313"/>
          </a:xfrm>
        </p:spPr>
        <p:txBody>
          <a:bodyPr/>
          <a:lstStyle/>
          <a:p>
            <a:pPr algn="l" rtl="0" eaLnBrk="1" hangingPunct="1"/>
            <a:r>
              <a:rPr lang="en" b="0" i="0" u="sng" baseline="0" dirty="0">
                <a:cs typeface="Arial" pitchFamily="34" charset="0"/>
              </a:rPr>
              <a:t>Examples of behaviors:</a:t>
            </a:r>
          </a:p>
          <a:p>
            <a:pPr lvl="1" algn="l" rtl="0" eaLnBrk="1" hangingPunct="1"/>
            <a:r>
              <a:rPr lang="en" b="0" i="0" u="none" baseline="0" dirty="0">
                <a:cs typeface="Arial" pitchFamily="34" charset="0"/>
              </a:rPr>
              <a:t>Speaking to people about safety</a:t>
            </a:r>
          </a:p>
          <a:p>
            <a:pPr lvl="1" algn="l" rtl="0" eaLnBrk="1" hangingPunct="1"/>
            <a:r>
              <a:rPr lang="en" b="0" i="0" u="none" baseline="0" dirty="0">
                <a:cs typeface="Arial" pitchFamily="34" charset="0"/>
              </a:rPr>
              <a:t>Not applying a procedure</a:t>
            </a:r>
          </a:p>
          <a:p>
            <a:pPr lvl="1" algn="l" rtl="0" eaLnBrk="1" hangingPunct="1"/>
            <a:r>
              <a:rPr lang="en" b="0" i="0" u="none" baseline="0" dirty="0">
                <a:cs typeface="Arial" pitchFamily="34" charset="0"/>
              </a:rPr>
              <a:t>Inspecting facilities regularly </a:t>
            </a:r>
          </a:p>
          <a:p>
            <a:pPr lvl="1" algn="l" rtl="0" eaLnBrk="1" hangingPunct="1"/>
            <a:r>
              <a:rPr lang="fr-FR" dirty="0" smtClean="0">
                <a:cs typeface="Arial" pitchFamily="34" charset="0"/>
              </a:rPr>
              <a:t>E</a:t>
            </a:r>
            <a:r>
              <a:rPr lang="en" dirty="0" smtClean="0">
                <a:cs typeface="Arial" pitchFamily="34" charset="0"/>
              </a:rPr>
              <a:t>tc.</a:t>
            </a:r>
            <a:endParaRPr lang="en" b="0" i="0" u="none" baseline="0" dirty="0">
              <a:cs typeface="Arial" pitchFamily="34" charset="0"/>
            </a:endParaRPr>
          </a:p>
          <a:p>
            <a:pPr algn="l" rtl="0" eaLnBrk="1" hangingPunct="1">
              <a:buFont typeface="Courier New" pitchFamily="49" charset="0"/>
              <a:buChar char="o"/>
            </a:pPr>
            <a:endParaRPr lang="en" altLang="fr-FR" sz="1400" dirty="0" smtClean="0">
              <a:cs typeface="Arial" pitchFamily="34" charset="0"/>
            </a:endParaRPr>
          </a:p>
          <a:p>
            <a:pPr algn="l" rtl="0" eaLnBrk="1" hangingPunct="1"/>
            <a:r>
              <a:rPr lang="en" b="0" i="0" u="sng" baseline="0" dirty="0">
                <a:cs typeface="Arial" pitchFamily="34" charset="0"/>
              </a:rPr>
              <a:t>Examples of other “activities” which are not behaviors:</a:t>
            </a:r>
          </a:p>
          <a:p>
            <a:pPr lvl="1" algn="l" rtl="0" eaLnBrk="1" hangingPunct="1"/>
            <a:r>
              <a:rPr lang="en" b="0" i="0" u="none" baseline="0" dirty="0">
                <a:cs typeface="Arial" pitchFamily="34" charset="0"/>
              </a:rPr>
              <a:t>Thinking about speaking to people about safety</a:t>
            </a:r>
          </a:p>
          <a:p>
            <a:pPr lvl="1" algn="l" rtl="0" eaLnBrk="1" hangingPunct="1"/>
            <a:r>
              <a:rPr lang="en" b="0" i="0" u="none" baseline="0" dirty="0">
                <a:cs typeface="Arial" pitchFamily="34" charset="0"/>
              </a:rPr>
              <a:t>Wondering whether a procedure is applicable</a:t>
            </a:r>
          </a:p>
          <a:p>
            <a:pPr lvl="1" algn="l" rtl="0" eaLnBrk="1" hangingPunct="1"/>
            <a:r>
              <a:rPr lang="en" b="0" i="0" u="none" baseline="0" dirty="0">
                <a:cs typeface="Arial" pitchFamily="34" charset="0"/>
              </a:rPr>
              <a:t>Thinking about the date of the next inspection to be carried out</a:t>
            </a:r>
          </a:p>
          <a:p>
            <a:pPr lvl="1" algn="l" rtl="0" eaLnBrk="1" hangingPunct="1"/>
            <a:r>
              <a:rPr lang="fr-FR" altLang="fr-FR" dirty="0" smtClean="0">
                <a:cs typeface="Arial" pitchFamily="34" charset="0"/>
              </a:rPr>
              <a:t>E</a:t>
            </a:r>
            <a:r>
              <a:rPr lang="en" altLang="fr-FR" dirty="0" smtClean="0">
                <a:cs typeface="Arial" pitchFamily="34" charset="0"/>
              </a:rPr>
              <a:t>tc.</a:t>
            </a:r>
          </a:p>
        </p:txBody>
      </p:sp>
      <p:sp>
        <p:nvSpPr>
          <p:cNvPr id="17411"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C3A6812D-A10A-470C-B244-9295182252DD}" type="slidenum">
              <a:rPr/>
              <a:pPr algn="r" rtl="0"/>
              <a:t>5</a:t>
            </a:fld>
            <a:endParaRPr lang="en" altLang="fr-FR"/>
          </a:p>
        </p:txBody>
      </p:sp>
      <p:sp>
        <p:nvSpPr>
          <p:cNvPr id="17413"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en" b="0" i="0" u="none" baseline="0">
                <a:latin typeface="Arial" pitchFamily="34" charset="0"/>
                <a:cs typeface="Arial" pitchFamily="34" charset="0"/>
              </a:rPr>
              <a:t>H3SE integration kit - TCG 4.1 - Behaviors (positive and negative) – V1</a:t>
            </a:r>
          </a:p>
        </p:txBody>
      </p:sp>
      <p:sp>
        <p:nvSpPr>
          <p:cNvPr id="8" name="Rectangle 8"/>
          <p:cNvSpPr>
            <a:spLocks noChangeArrowheads="1"/>
          </p:cNvSpPr>
          <p:nvPr/>
        </p:nvSpPr>
        <p:spPr bwMode="auto">
          <a:xfrm>
            <a:off x="1816893" y="5168900"/>
            <a:ext cx="5006975" cy="923925"/>
          </a:xfrm>
          <a:prstGeom prst="rect">
            <a:avLst/>
          </a:prstGeom>
          <a:solidFill>
            <a:schemeClr val="bg1"/>
          </a:solidFill>
          <a:ln w="19050">
            <a:solidFill>
              <a:srgbClr val="BD2B0B"/>
            </a:solidFill>
            <a:miter lim="800000"/>
            <a:headEnd/>
            <a:tailEnd/>
          </a:ln>
        </p:spPr>
        <p:txBody>
          <a:bodyPr lIns="0" tIns="0" rIns="252000" bIns="0" anchor="ctr">
            <a:spAutoFit/>
          </a:bodyPr>
          <a:lstStyle/>
          <a:p>
            <a:pPr algn="ctr" rtl="0" eaLnBrk="1" hangingPunct="1">
              <a:spcBef>
                <a:spcPts val="0"/>
              </a:spcBef>
              <a:spcAft>
                <a:spcPts val="0"/>
              </a:spcAft>
              <a:tabLst>
                <a:tab pos="1438275" algn="l"/>
              </a:tabLst>
            </a:pPr>
            <a:r>
              <a:rPr lang="en" sz="2000" b="1" i="0" u="none" baseline="0" dirty="0">
                <a:solidFill>
                  <a:srgbClr val="00B050"/>
                </a:solidFill>
                <a:latin typeface="Arial" charset="0"/>
                <a:ea typeface="Arial" charset="0"/>
                <a:cs typeface="Arial" charset="0"/>
              </a:rPr>
              <a:t>Behavior = observable </a:t>
            </a:r>
            <a:r>
              <a:rPr lang="en" sz="2000" b="1" i="0" u="none" baseline="0" dirty="0" smtClean="0">
                <a:solidFill>
                  <a:srgbClr val="00B050"/>
                </a:solidFill>
                <a:latin typeface="Arial" charset="0"/>
                <a:ea typeface="Arial" charset="0"/>
                <a:cs typeface="Arial" charset="0"/>
              </a:rPr>
              <a:t>action</a:t>
            </a:r>
            <a:endParaRPr lang="en" sz="2000" b="1" dirty="0">
              <a:solidFill>
                <a:srgbClr val="E20031"/>
              </a:solidFill>
              <a:latin typeface="Arial" charset="0"/>
              <a:ea typeface="Arial" charset="0"/>
              <a:cs typeface="Arial" charset="0"/>
              <a:sym typeface="Symbol" pitchFamily="18" charset="2"/>
            </a:endParaRPr>
          </a:p>
          <a:p>
            <a:pPr algn="ctr" rtl="0" eaLnBrk="1" hangingPunct="1">
              <a:spcBef>
                <a:spcPts val="0"/>
              </a:spcBef>
              <a:spcAft>
                <a:spcPts val="0"/>
              </a:spcAft>
              <a:tabLst>
                <a:tab pos="1438275" algn="l"/>
              </a:tabLst>
            </a:pPr>
            <a:r>
              <a:rPr lang="en" sz="2000" b="1" i="0" u="none" baseline="0" dirty="0" smtClean="0">
                <a:solidFill>
                  <a:srgbClr val="A90025"/>
                </a:solidFill>
                <a:sym typeface="Symbol" pitchFamily="18" charset="2"/>
              </a:rPr>
              <a:t>Behavior </a:t>
            </a:r>
            <a:r>
              <a:rPr lang="en" sz="2000" b="1" i="0" u="none" baseline="0" dirty="0">
                <a:solidFill>
                  <a:srgbClr val="A90025"/>
                </a:solidFill>
                <a:sym typeface="Symbol" pitchFamily="18" charset="2"/>
              </a:rPr>
              <a:t> </a:t>
            </a:r>
            <a:r>
              <a:rPr lang="en" sz="2000" b="1" i="0" u="none" baseline="0" dirty="0">
                <a:solidFill>
                  <a:srgbClr val="A90025"/>
                </a:solidFill>
              </a:rPr>
              <a:t>intention</a:t>
            </a:r>
          </a:p>
          <a:p>
            <a:pPr algn="ctr" rtl="0" eaLnBrk="1" hangingPunct="1">
              <a:spcBef>
                <a:spcPts val="0"/>
              </a:spcBef>
              <a:spcAft>
                <a:spcPts val="0"/>
              </a:spcAft>
              <a:tabLst>
                <a:tab pos="1438275" algn="l"/>
              </a:tabLst>
            </a:pPr>
            <a:r>
              <a:rPr lang="en" sz="2000" b="1" i="0" u="none" baseline="0" dirty="0">
                <a:solidFill>
                  <a:srgbClr val="A90025"/>
                </a:solidFill>
                <a:sym typeface="Symbol" pitchFamily="18" charset="2"/>
              </a:rPr>
              <a:t>Behavior  </a:t>
            </a:r>
            <a:r>
              <a:rPr lang="en" sz="2000" b="1" i="0" u="none" baseline="0" dirty="0">
                <a:solidFill>
                  <a:srgbClr val="A90025"/>
                </a:solidFill>
              </a:rPr>
              <a:t>opinion</a:t>
            </a:r>
            <a:endParaRPr lang="en" altLang="fr-FR" sz="2000" b="1" dirty="0">
              <a:solidFill>
                <a:srgbClr val="A90025"/>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eaLnBrk="1" hangingPunct="1">
              <a:defRPr/>
            </a:pPr>
            <a:r>
              <a:rPr lang="en" b="1" i="0" u="none" baseline="0"/>
              <a:t>Exercise</a:t>
            </a:r>
            <a:endParaRPr lang="en" dirty="0"/>
          </a:p>
        </p:txBody>
      </p:sp>
      <p:sp>
        <p:nvSpPr>
          <p:cNvPr id="18434" name="Espace réservé du texte 2"/>
          <p:cNvSpPr>
            <a:spLocks noGrp="1"/>
          </p:cNvSpPr>
          <p:nvPr>
            <p:ph type="body" sz="quarter" idx="12"/>
          </p:nvPr>
        </p:nvSpPr>
        <p:spPr>
          <a:xfrm>
            <a:off x="457200" y="1125538"/>
            <a:ext cx="8218488" cy="5040312"/>
          </a:xfrm>
        </p:spPr>
        <p:txBody>
          <a:bodyPr/>
          <a:lstStyle/>
          <a:p>
            <a:pPr marL="0" indent="0" algn="l" rtl="0" eaLnBrk="1" hangingPunct="1">
              <a:spcAft>
                <a:spcPts val="1200"/>
              </a:spcAft>
              <a:buFont typeface="Lucida Grande"/>
              <a:buNone/>
            </a:pPr>
            <a:r>
              <a:rPr lang="en" sz="2400" b="1" i="0" u="none" baseline="0">
                <a:solidFill>
                  <a:srgbClr val="404040"/>
                </a:solidFill>
                <a:cs typeface="Arial" pitchFamily="34" charset="0"/>
              </a:rPr>
              <a:t>Behavior or not?</a:t>
            </a:r>
          </a:p>
          <a:p>
            <a:pPr marL="284400" indent="-284400" algn="l" rtl="0" eaLnBrk="1" hangingPunct="1">
              <a:spcBef>
                <a:spcPts val="1200"/>
              </a:spcBef>
              <a:buFont typeface="Wingdings" pitchFamily="2" charset="2"/>
              <a:buChar char="q"/>
            </a:pPr>
            <a:r>
              <a:rPr lang="en" b="0" i="0" u="none" baseline="0">
                <a:cs typeface="Arial" pitchFamily="34" charset="0"/>
              </a:rPr>
              <a:t>Working at height without a harness</a:t>
            </a:r>
          </a:p>
          <a:p>
            <a:pPr marL="284400" indent="-284400" algn="l" rtl="0" eaLnBrk="1" hangingPunct="1">
              <a:spcBef>
                <a:spcPts val="1200"/>
              </a:spcBef>
              <a:buFont typeface="Wingdings" pitchFamily="2" charset="2"/>
              <a:buChar char="q"/>
            </a:pPr>
            <a:r>
              <a:rPr lang="en" b="0" i="0" u="none" baseline="0">
                <a:cs typeface="Arial" pitchFamily="34" charset="0"/>
              </a:rPr>
              <a:t>Being stressed</a:t>
            </a:r>
          </a:p>
          <a:p>
            <a:pPr marL="284400" indent="-284400" algn="l" rtl="0" eaLnBrk="1" hangingPunct="1">
              <a:spcBef>
                <a:spcPts val="1200"/>
              </a:spcBef>
              <a:buFont typeface="Wingdings" pitchFamily="2" charset="2"/>
              <a:buChar char="q"/>
            </a:pPr>
            <a:r>
              <a:rPr lang="en" b="0" i="0" u="none" baseline="0">
                <a:cs typeface="Arial" pitchFamily="34" charset="0"/>
              </a:rPr>
              <a:t>Taking a Safety Tour</a:t>
            </a:r>
          </a:p>
          <a:p>
            <a:pPr marL="284400" indent="-284400" algn="l" rtl="0" eaLnBrk="1" hangingPunct="1">
              <a:spcBef>
                <a:spcPts val="1200"/>
              </a:spcBef>
              <a:buFont typeface="Wingdings" pitchFamily="2" charset="2"/>
              <a:buChar char="q"/>
            </a:pPr>
            <a:r>
              <a:rPr lang="en" b="0" i="0" u="none" baseline="0">
                <a:cs typeface="Arial" pitchFamily="34" charset="0"/>
              </a:rPr>
              <a:t>Suggesting one of your colleagues take a Safety Tour</a:t>
            </a:r>
          </a:p>
          <a:p>
            <a:pPr marL="284400" indent="-284400" algn="l" rtl="0" eaLnBrk="1" hangingPunct="1">
              <a:spcBef>
                <a:spcPts val="1200"/>
              </a:spcBef>
              <a:buFont typeface="Wingdings" pitchFamily="2" charset="2"/>
              <a:buChar char="q"/>
            </a:pPr>
            <a:r>
              <a:rPr lang="en" b="0" i="0" u="none" baseline="0">
                <a:cs typeface="Arial" pitchFamily="34" charset="0"/>
              </a:rPr>
              <a:t>Convincing yourself that safety is your priority</a:t>
            </a:r>
          </a:p>
          <a:p>
            <a:pPr marL="284400" indent="-284400" algn="l" rtl="0" eaLnBrk="1" hangingPunct="1">
              <a:spcBef>
                <a:spcPts val="1200"/>
              </a:spcBef>
              <a:buFont typeface="Wingdings" pitchFamily="2" charset="2"/>
              <a:buChar char="q"/>
            </a:pPr>
            <a:r>
              <a:rPr lang="en" b="0" i="0" u="none" baseline="0">
                <a:cs typeface="Arial" pitchFamily="34" charset="0"/>
              </a:rPr>
              <a:t>Driving the wrong way on the highway</a:t>
            </a:r>
          </a:p>
          <a:p>
            <a:pPr marL="0" indent="0" algn="l" rtl="0" eaLnBrk="1" hangingPunct="1">
              <a:spcBef>
                <a:spcPts val="600"/>
              </a:spcBef>
            </a:pPr>
            <a:endParaRPr lang="en" altLang="fr-FR" dirty="0" smtClean="0">
              <a:cs typeface="Arial" pitchFamily="34" charset="0"/>
            </a:endParaRPr>
          </a:p>
        </p:txBody>
      </p:sp>
      <p:sp>
        <p:nvSpPr>
          <p:cNvPr id="18435"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A077FCEB-2FAB-41EF-B401-039C56F3F4B2}" type="slidenum">
              <a:rPr/>
              <a:pPr algn="r" rtl="0"/>
              <a:t>6</a:t>
            </a:fld>
            <a:endParaRPr lang="en" altLang="fr-FR"/>
          </a:p>
        </p:txBody>
      </p:sp>
      <p:sp>
        <p:nvSpPr>
          <p:cNvPr id="6" name="Rectangle 5"/>
          <p:cNvSpPr/>
          <p:nvPr/>
        </p:nvSpPr>
        <p:spPr>
          <a:xfrm rot="20366507">
            <a:off x="5386182" y="1246445"/>
            <a:ext cx="3438505" cy="1569660"/>
          </a:xfrm>
          <a:prstGeom prst="rect">
            <a:avLst/>
          </a:prstGeom>
          <a:noFill/>
        </p:spPr>
        <p:txBody>
          <a:bodyPr wrap="none">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l" rtl="0" eaLnBrk="1" hangingPunct="1">
              <a:defRPr/>
            </a:pPr>
            <a:r>
              <a:rPr lang="en" sz="4800" b="1" i="0" u="none" baseline="0" dirty="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Calibri" pitchFamily="34" charset="0"/>
                <a:ea typeface="Arial" charset="0"/>
                <a:cs typeface="Arial" charset="0"/>
              </a:rPr>
              <a:t>Action?</a:t>
            </a:r>
          </a:p>
          <a:p>
            <a:pPr algn="l" rtl="0" eaLnBrk="1" hangingPunct="1">
              <a:defRPr/>
            </a:pPr>
            <a:r>
              <a:rPr lang="en" sz="4800" b="1" i="0" u="none" baseline="0" dirty="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Calibri" pitchFamily="34" charset="0"/>
                <a:ea typeface="Arial" charset="0"/>
                <a:cs typeface="Arial" charset="0"/>
              </a:rPr>
              <a:t>Observable</a:t>
            </a:r>
            <a:r>
              <a:rPr lang="en" sz="3600" b="1" i="0" u="none" baseline="0" dirty="0">
                <a:ln w="11430"/>
                <a:gradFill>
                  <a:gsLst>
                    <a:gs pos="0">
                      <a:srgbClr val="FFF200"/>
                    </a:gs>
                    <a:gs pos="45000">
                      <a:srgbClr val="FF7A00"/>
                    </a:gs>
                    <a:gs pos="70000">
                      <a:srgbClr val="FF0300"/>
                    </a:gs>
                    <a:gs pos="100000">
                      <a:srgbClr val="4D0808"/>
                    </a:gs>
                  </a:gsLst>
                  <a:lin ang="5400000" scaled="0"/>
                </a:gradFill>
                <a:effectLst>
                  <a:outerShdw blurRad="50800" dist="39000" dir="5460000" algn="tl">
                    <a:srgbClr val="000000">
                      <a:alpha val="38000"/>
                    </a:srgbClr>
                  </a:outerShdw>
                </a:effectLst>
                <a:latin typeface="Calibri" pitchFamily="34" charset="0"/>
                <a:ea typeface="Arial" charset="0"/>
                <a:cs typeface="Arial" charset="0"/>
              </a:rPr>
              <a:t>?</a:t>
            </a:r>
          </a:p>
        </p:txBody>
      </p:sp>
      <p:sp>
        <p:nvSpPr>
          <p:cNvPr id="7" name="Freeform 173"/>
          <p:cNvSpPr>
            <a:spLocks/>
          </p:cNvSpPr>
          <p:nvPr>
            <p:custDataLst>
              <p:tags r:id="rId1"/>
            </p:custDataLst>
          </p:nvPr>
        </p:nvSpPr>
        <p:spPr bwMode="gray">
          <a:xfrm>
            <a:off x="539552" y="2301379"/>
            <a:ext cx="282575" cy="263525"/>
          </a:xfrm>
          <a:custGeom>
            <a:avLst/>
            <a:gdLst>
              <a:gd name="T0" fmla="*/ 2147483647 w 141"/>
              <a:gd name="T1" fmla="*/ 2147483647 h 131"/>
              <a:gd name="T2" fmla="*/ 2147483647 w 141"/>
              <a:gd name="T3" fmla="*/ 2147483647 h 131"/>
              <a:gd name="T4" fmla="*/ 2147483647 w 141"/>
              <a:gd name="T5" fmla="*/ 2147483647 h 131"/>
              <a:gd name="T6" fmla="*/ 0 w 141"/>
              <a:gd name="T7" fmla="*/ 2147483647 h 131"/>
              <a:gd name="T8" fmla="*/ 2147483647 w 141"/>
              <a:gd name="T9" fmla="*/ 2147483647 h 131"/>
              <a:gd name="T10" fmla="*/ 2147483647 w 141"/>
              <a:gd name="T11" fmla="*/ 2147483647 h 131"/>
              <a:gd name="T12" fmla="*/ 2147483647 w 141"/>
              <a:gd name="T13" fmla="*/ 2147483647 h 131"/>
              <a:gd name="T14" fmla="*/ 2147483647 w 141"/>
              <a:gd name="T15" fmla="*/ 2147483647 h 131"/>
              <a:gd name="T16" fmla="*/ 2147483647 w 141"/>
              <a:gd name="T17" fmla="*/ 2147483647 h 131"/>
              <a:gd name="T18" fmla="*/ 2147483647 w 141"/>
              <a:gd name="T19" fmla="*/ 0 h 131"/>
              <a:gd name="T20" fmla="*/ 2147483647 w 141"/>
              <a:gd name="T21" fmla="*/ 2147483647 h 131"/>
              <a:gd name="T22" fmla="*/ 2147483647 w 141"/>
              <a:gd name="T23" fmla="*/ 2147483647 h 131"/>
              <a:gd name="T24" fmla="*/ 2147483647 w 141"/>
              <a:gd name="T25" fmla="*/ 2147483647 h 131"/>
              <a:gd name="T26" fmla="*/ 2147483647 w 141"/>
              <a:gd name="T27" fmla="*/ 2147483647 h 131"/>
              <a:gd name="T28" fmla="*/ 2147483647 w 141"/>
              <a:gd name="T29" fmla="*/ 2147483647 h 131"/>
              <a:gd name="T30" fmla="*/ 2147483647 w 141"/>
              <a:gd name="T31" fmla="*/ 2147483647 h 131"/>
              <a:gd name="T32" fmla="*/ 2147483647 w 141"/>
              <a:gd name="T33" fmla="*/ 2147483647 h 131"/>
              <a:gd name="T34" fmla="*/ 2147483647 w 141"/>
              <a:gd name="T35" fmla="*/ 2147483647 h 131"/>
              <a:gd name="T36" fmla="*/ 2147483647 w 141"/>
              <a:gd name="T37" fmla="*/ 2147483647 h 131"/>
              <a:gd name="T38" fmla="*/ 2147483647 w 141"/>
              <a:gd name="T39" fmla="*/ 2147483647 h 131"/>
              <a:gd name="T40" fmla="*/ 2147483647 w 141"/>
              <a:gd name="T41" fmla="*/ 2147483647 h 131"/>
              <a:gd name="T42" fmla="*/ 2147483647 w 141"/>
              <a:gd name="T43" fmla="*/ 2147483647 h 131"/>
              <a:gd name="T44" fmla="*/ 2147483647 w 141"/>
              <a:gd name="T45" fmla="*/ 2147483647 h 131"/>
              <a:gd name="T46" fmla="*/ 2147483647 w 141"/>
              <a:gd name="T47" fmla="*/ 2147483647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41" h="131">
                <a:moveTo>
                  <a:pt x="69" y="95"/>
                </a:moveTo>
                <a:cubicBezTo>
                  <a:pt x="67" y="98"/>
                  <a:pt x="67" y="98"/>
                  <a:pt x="67" y="98"/>
                </a:cubicBezTo>
                <a:cubicBezTo>
                  <a:pt x="53" y="120"/>
                  <a:pt x="41" y="131"/>
                  <a:pt x="31" y="131"/>
                </a:cubicBezTo>
                <a:cubicBezTo>
                  <a:pt x="21" y="131"/>
                  <a:pt x="10" y="122"/>
                  <a:pt x="0" y="105"/>
                </a:cubicBezTo>
                <a:cubicBezTo>
                  <a:pt x="1" y="105"/>
                  <a:pt x="2" y="105"/>
                  <a:pt x="3" y="105"/>
                </a:cubicBezTo>
                <a:cubicBezTo>
                  <a:pt x="15" y="105"/>
                  <a:pt x="29" y="96"/>
                  <a:pt x="44" y="77"/>
                </a:cubicBezTo>
                <a:cubicBezTo>
                  <a:pt x="47" y="72"/>
                  <a:pt x="47" y="72"/>
                  <a:pt x="47" y="72"/>
                </a:cubicBezTo>
                <a:cubicBezTo>
                  <a:pt x="43" y="67"/>
                  <a:pt x="43" y="67"/>
                  <a:pt x="43" y="67"/>
                </a:cubicBezTo>
                <a:cubicBezTo>
                  <a:pt x="29" y="52"/>
                  <a:pt x="22" y="40"/>
                  <a:pt x="22" y="29"/>
                </a:cubicBezTo>
                <a:cubicBezTo>
                  <a:pt x="22" y="21"/>
                  <a:pt x="30" y="11"/>
                  <a:pt x="44" y="0"/>
                </a:cubicBezTo>
                <a:cubicBezTo>
                  <a:pt x="47" y="14"/>
                  <a:pt x="53" y="29"/>
                  <a:pt x="64" y="42"/>
                </a:cubicBezTo>
                <a:cubicBezTo>
                  <a:pt x="68" y="48"/>
                  <a:pt x="68" y="48"/>
                  <a:pt x="68" y="48"/>
                </a:cubicBezTo>
                <a:cubicBezTo>
                  <a:pt x="71" y="43"/>
                  <a:pt x="71" y="43"/>
                  <a:pt x="71" y="43"/>
                </a:cubicBezTo>
                <a:cubicBezTo>
                  <a:pt x="87" y="23"/>
                  <a:pt x="101" y="13"/>
                  <a:pt x="114" y="13"/>
                </a:cubicBezTo>
                <a:cubicBezTo>
                  <a:pt x="124" y="13"/>
                  <a:pt x="131" y="21"/>
                  <a:pt x="136" y="36"/>
                </a:cubicBezTo>
                <a:cubicBezTo>
                  <a:pt x="135" y="36"/>
                  <a:pt x="134" y="36"/>
                  <a:pt x="133" y="36"/>
                </a:cubicBezTo>
                <a:cubicBezTo>
                  <a:pt x="129" y="36"/>
                  <a:pt x="122" y="39"/>
                  <a:pt x="114" y="45"/>
                </a:cubicBezTo>
                <a:cubicBezTo>
                  <a:pt x="106" y="51"/>
                  <a:pt x="99" y="58"/>
                  <a:pt x="94" y="65"/>
                </a:cubicBezTo>
                <a:cubicBezTo>
                  <a:pt x="89" y="71"/>
                  <a:pt x="89" y="71"/>
                  <a:pt x="89" y="71"/>
                </a:cubicBezTo>
                <a:cubicBezTo>
                  <a:pt x="93" y="75"/>
                  <a:pt x="93" y="75"/>
                  <a:pt x="93" y="75"/>
                </a:cubicBezTo>
                <a:cubicBezTo>
                  <a:pt x="108" y="90"/>
                  <a:pt x="124" y="97"/>
                  <a:pt x="141" y="97"/>
                </a:cubicBezTo>
                <a:cubicBezTo>
                  <a:pt x="132" y="114"/>
                  <a:pt x="123" y="123"/>
                  <a:pt x="113" y="123"/>
                </a:cubicBezTo>
                <a:cubicBezTo>
                  <a:pt x="104" y="123"/>
                  <a:pt x="92" y="116"/>
                  <a:pt x="76" y="101"/>
                </a:cubicBezTo>
                <a:lnTo>
                  <a:pt x="69" y="95"/>
                </a:lnTo>
                <a:close/>
              </a:path>
            </a:pathLst>
          </a:custGeom>
          <a:solidFill>
            <a:srgbClr val="FF0000"/>
          </a:solidFill>
          <a:ln>
            <a:noFill/>
          </a:ln>
          <a:extLst/>
        </p:spPr>
        <p:txBody>
          <a:bodyPr/>
          <a:lstStyle/>
          <a:p>
            <a:endParaRPr lang="en"/>
          </a:p>
        </p:txBody>
      </p:sp>
      <p:sp>
        <p:nvSpPr>
          <p:cNvPr id="8" name="Freeform 173"/>
          <p:cNvSpPr>
            <a:spLocks/>
          </p:cNvSpPr>
          <p:nvPr>
            <p:custDataLst>
              <p:tags r:id="rId2"/>
            </p:custDataLst>
          </p:nvPr>
        </p:nvSpPr>
        <p:spPr bwMode="gray">
          <a:xfrm>
            <a:off x="539552" y="3813547"/>
            <a:ext cx="282575" cy="263525"/>
          </a:xfrm>
          <a:custGeom>
            <a:avLst/>
            <a:gdLst>
              <a:gd name="T0" fmla="*/ 2147483647 w 141"/>
              <a:gd name="T1" fmla="*/ 2147483647 h 131"/>
              <a:gd name="T2" fmla="*/ 2147483647 w 141"/>
              <a:gd name="T3" fmla="*/ 2147483647 h 131"/>
              <a:gd name="T4" fmla="*/ 2147483647 w 141"/>
              <a:gd name="T5" fmla="*/ 2147483647 h 131"/>
              <a:gd name="T6" fmla="*/ 0 w 141"/>
              <a:gd name="T7" fmla="*/ 2147483647 h 131"/>
              <a:gd name="T8" fmla="*/ 2147483647 w 141"/>
              <a:gd name="T9" fmla="*/ 2147483647 h 131"/>
              <a:gd name="T10" fmla="*/ 2147483647 w 141"/>
              <a:gd name="T11" fmla="*/ 2147483647 h 131"/>
              <a:gd name="T12" fmla="*/ 2147483647 w 141"/>
              <a:gd name="T13" fmla="*/ 2147483647 h 131"/>
              <a:gd name="T14" fmla="*/ 2147483647 w 141"/>
              <a:gd name="T15" fmla="*/ 2147483647 h 131"/>
              <a:gd name="T16" fmla="*/ 2147483647 w 141"/>
              <a:gd name="T17" fmla="*/ 2147483647 h 131"/>
              <a:gd name="T18" fmla="*/ 2147483647 w 141"/>
              <a:gd name="T19" fmla="*/ 0 h 131"/>
              <a:gd name="T20" fmla="*/ 2147483647 w 141"/>
              <a:gd name="T21" fmla="*/ 2147483647 h 131"/>
              <a:gd name="T22" fmla="*/ 2147483647 w 141"/>
              <a:gd name="T23" fmla="*/ 2147483647 h 131"/>
              <a:gd name="T24" fmla="*/ 2147483647 w 141"/>
              <a:gd name="T25" fmla="*/ 2147483647 h 131"/>
              <a:gd name="T26" fmla="*/ 2147483647 w 141"/>
              <a:gd name="T27" fmla="*/ 2147483647 h 131"/>
              <a:gd name="T28" fmla="*/ 2147483647 w 141"/>
              <a:gd name="T29" fmla="*/ 2147483647 h 131"/>
              <a:gd name="T30" fmla="*/ 2147483647 w 141"/>
              <a:gd name="T31" fmla="*/ 2147483647 h 131"/>
              <a:gd name="T32" fmla="*/ 2147483647 w 141"/>
              <a:gd name="T33" fmla="*/ 2147483647 h 131"/>
              <a:gd name="T34" fmla="*/ 2147483647 w 141"/>
              <a:gd name="T35" fmla="*/ 2147483647 h 131"/>
              <a:gd name="T36" fmla="*/ 2147483647 w 141"/>
              <a:gd name="T37" fmla="*/ 2147483647 h 131"/>
              <a:gd name="T38" fmla="*/ 2147483647 w 141"/>
              <a:gd name="T39" fmla="*/ 2147483647 h 131"/>
              <a:gd name="T40" fmla="*/ 2147483647 w 141"/>
              <a:gd name="T41" fmla="*/ 2147483647 h 131"/>
              <a:gd name="T42" fmla="*/ 2147483647 w 141"/>
              <a:gd name="T43" fmla="*/ 2147483647 h 131"/>
              <a:gd name="T44" fmla="*/ 2147483647 w 141"/>
              <a:gd name="T45" fmla="*/ 2147483647 h 131"/>
              <a:gd name="T46" fmla="*/ 2147483647 w 141"/>
              <a:gd name="T47" fmla="*/ 2147483647 h 1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41" h="131">
                <a:moveTo>
                  <a:pt x="69" y="95"/>
                </a:moveTo>
                <a:cubicBezTo>
                  <a:pt x="67" y="98"/>
                  <a:pt x="67" y="98"/>
                  <a:pt x="67" y="98"/>
                </a:cubicBezTo>
                <a:cubicBezTo>
                  <a:pt x="53" y="120"/>
                  <a:pt x="41" y="131"/>
                  <a:pt x="31" y="131"/>
                </a:cubicBezTo>
                <a:cubicBezTo>
                  <a:pt x="21" y="131"/>
                  <a:pt x="10" y="122"/>
                  <a:pt x="0" y="105"/>
                </a:cubicBezTo>
                <a:cubicBezTo>
                  <a:pt x="1" y="105"/>
                  <a:pt x="2" y="105"/>
                  <a:pt x="3" y="105"/>
                </a:cubicBezTo>
                <a:cubicBezTo>
                  <a:pt x="15" y="105"/>
                  <a:pt x="29" y="96"/>
                  <a:pt x="44" y="77"/>
                </a:cubicBezTo>
                <a:cubicBezTo>
                  <a:pt x="47" y="72"/>
                  <a:pt x="47" y="72"/>
                  <a:pt x="47" y="72"/>
                </a:cubicBezTo>
                <a:cubicBezTo>
                  <a:pt x="43" y="67"/>
                  <a:pt x="43" y="67"/>
                  <a:pt x="43" y="67"/>
                </a:cubicBezTo>
                <a:cubicBezTo>
                  <a:pt x="29" y="52"/>
                  <a:pt x="22" y="40"/>
                  <a:pt x="22" y="29"/>
                </a:cubicBezTo>
                <a:cubicBezTo>
                  <a:pt x="22" y="21"/>
                  <a:pt x="30" y="11"/>
                  <a:pt x="44" y="0"/>
                </a:cubicBezTo>
                <a:cubicBezTo>
                  <a:pt x="47" y="14"/>
                  <a:pt x="53" y="29"/>
                  <a:pt x="64" y="42"/>
                </a:cubicBezTo>
                <a:cubicBezTo>
                  <a:pt x="68" y="48"/>
                  <a:pt x="68" y="48"/>
                  <a:pt x="68" y="48"/>
                </a:cubicBezTo>
                <a:cubicBezTo>
                  <a:pt x="71" y="43"/>
                  <a:pt x="71" y="43"/>
                  <a:pt x="71" y="43"/>
                </a:cubicBezTo>
                <a:cubicBezTo>
                  <a:pt x="87" y="23"/>
                  <a:pt x="101" y="13"/>
                  <a:pt x="114" y="13"/>
                </a:cubicBezTo>
                <a:cubicBezTo>
                  <a:pt x="124" y="13"/>
                  <a:pt x="131" y="21"/>
                  <a:pt x="136" y="36"/>
                </a:cubicBezTo>
                <a:cubicBezTo>
                  <a:pt x="135" y="36"/>
                  <a:pt x="134" y="36"/>
                  <a:pt x="133" y="36"/>
                </a:cubicBezTo>
                <a:cubicBezTo>
                  <a:pt x="129" y="36"/>
                  <a:pt x="122" y="39"/>
                  <a:pt x="114" y="45"/>
                </a:cubicBezTo>
                <a:cubicBezTo>
                  <a:pt x="106" y="51"/>
                  <a:pt x="99" y="58"/>
                  <a:pt x="94" y="65"/>
                </a:cubicBezTo>
                <a:cubicBezTo>
                  <a:pt x="89" y="71"/>
                  <a:pt x="89" y="71"/>
                  <a:pt x="89" y="71"/>
                </a:cubicBezTo>
                <a:cubicBezTo>
                  <a:pt x="93" y="75"/>
                  <a:pt x="93" y="75"/>
                  <a:pt x="93" y="75"/>
                </a:cubicBezTo>
                <a:cubicBezTo>
                  <a:pt x="108" y="90"/>
                  <a:pt x="124" y="97"/>
                  <a:pt x="141" y="97"/>
                </a:cubicBezTo>
                <a:cubicBezTo>
                  <a:pt x="132" y="114"/>
                  <a:pt x="123" y="123"/>
                  <a:pt x="113" y="123"/>
                </a:cubicBezTo>
                <a:cubicBezTo>
                  <a:pt x="104" y="123"/>
                  <a:pt x="92" y="116"/>
                  <a:pt x="76" y="101"/>
                </a:cubicBezTo>
                <a:lnTo>
                  <a:pt x="69" y="95"/>
                </a:lnTo>
                <a:close/>
              </a:path>
            </a:pathLst>
          </a:custGeom>
          <a:solidFill>
            <a:srgbClr val="FF0000"/>
          </a:solidFill>
          <a:ln>
            <a:noFill/>
          </a:ln>
          <a:extLst/>
        </p:spPr>
        <p:txBody>
          <a:bodyPr/>
          <a:lstStyle/>
          <a:p>
            <a:endParaRPr lang="en"/>
          </a:p>
        </p:txBody>
      </p:sp>
      <p:sp>
        <p:nvSpPr>
          <p:cNvPr id="9" name="Freeform 172"/>
          <p:cNvSpPr>
            <a:spLocks/>
          </p:cNvSpPr>
          <p:nvPr>
            <p:custDataLst>
              <p:tags r:id="rId3"/>
            </p:custDataLst>
          </p:nvPr>
        </p:nvSpPr>
        <p:spPr bwMode="gray">
          <a:xfrm>
            <a:off x="539552" y="1748267"/>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en"/>
          </a:p>
        </p:txBody>
      </p:sp>
      <p:sp>
        <p:nvSpPr>
          <p:cNvPr id="10" name="Freeform 172"/>
          <p:cNvSpPr>
            <a:spLocks/>
          </p:cNvSpPr>
          <p:nvPr>
            <p:custDataLst>
              <p:tags r:id="rId4"/>
            </p:custDataLst>
          </p:nvPr>
        </p:nvSpPr>
        <p:spPr bwMode="gray">
          <a:xfrm>
            <a:off x="521767" y="2708920"/>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en"/>
          </a:p>
        </p:txBody>
      </p:sp>
      <p:sp>
        <p:nvSpPr>
          <p:cNvPr id="11" name="Freeform 172"/>
          <p:cNvSpPr>
            <a:spLocks/>
          </p:cNvSpPr>
          <p:nvPr>
            <p:custDataLst>
              <p:tags r:id="rId5"/>
            </p:custDataLst>
          </p:nvPr>
        </p:nvSpPr>
        <p:spPr bwMode="gray">
          <a:xfrm>
            <a:off x="521767" y="3212976"/>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en"/>
          </a:p>
        </p:txBody>
      </p:sp>
      <p:sp>
        <p:nvSpPr>
          <p:cNvPr id="12" name="Freeform 172"/>
          <p:cNvSpPr>
            <a:spLocks/>
          </p:cNvSpPr>
          <p:nvPr>
            <p:custDataLst>
              <p:tags r:id="rId6"/>
            </p:custDataLst>
          </p:nvPr>
        </p:nvSpPr>
        <p:spPr bwMode="gray">
          <a:xfrm>
            <a:off x="521767" y="4221088"/>
            <a:ext cx="377825" cy="360362"/>
          </a:xfrm>
          <a:custGeom>
            <a:avLst/>
            <a:gdLst>
              <a:gd name="T0" fmla="*/ 2147483647 w 194"/>
              <a:gd name="T1" fmla="*/ 0 h 185"/>
              <a:gd name="T2" fmla="*/ 2147483647 w 194"/>
              <a:gd name="T3" fmla="*/ 2147483647 h 185"/>
              <a:gd name="T4" fmla="*/ 2147483647 w 194"/>
              <a:gd name="T5" fmla="*/ 2147483647 h 185"/>
              <a:gd name="T6" fmla="*/ 2147483647 w 194"/>
              <a:gd name="T7" fmla="*/ 2147483647 h 185"/>
              <a:gd name="T8" fmla="*/ 2147483647 w 194"/>
              <a:gd name="T9" fmla="*/ 2147483647 h 185"/>
              <a:gd name="T10" fmla="*/ 2147483647 w 194"/>
              <a:gd name="T11" fmla="*/ 2147483647 h 185"/>
              <a:gd name="T12" fmla="*/ 2147483647 w 194"/>
              <a:gd name="T13" fmla="*/ 2147483647 h 185"/>
              <a:gd name="T14" fmla="*/ 2147483647 w 194"/>
              <a:gd name="T15" fmla="*/ 2147483647 h 185"/>
              <a:gd name="T16" fmla="*/ 2147483647 w 194"/>
              <a:gd name="T17" fmla="*/ 2147483647 h 185"/>
              <a:gd name="T18" fmla="*/ 0 w 194"/>
              <a:gd name="T19" fmla="*/ 2147483647 h 185"/>
              <a:gd name="T20" fmla="*/ 2147483647 w 194"/>
              <a:gd name="T21" fmla="*/ 2147483647 h 185"/>
              <a:gd name="T22" fmla="*/ 2147483647 w 194"/>
              <a:gd name="T23" fmla="*/ 2147483647 h 185"/>
              <a:gd name="T24" fmla="*/ 2147483647 w 194"/>
              <a:gd name="T25" fmla="*/ 2147483647 h 185"/>
              <a:gd name="T26" fmla="*/ 2147483647 w 194"/>
              <a:gd name="T27" fmla="*/ 2147483647 h 185"/>
              <a:gd name="T28" fmla="*/ 2147483647 w 194"/>
              <a:gd name="T29" fmla="*/ 0 h 1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94" h="185">
                <a:moveTo>
                  <a:pt x="189" y="0"/>
                </a:moveTo>
                <a:cubicBezTo>
                  <a:pt x="194" y="7"/>
                  <a:pt x="194" y="7"/>
                  <a:pt x="194" y="7"/>
                </a:cubicBezTo>
                <a:cubicBezTo>
                  <a:pt x="174" y="22"/>
                  <a:pt x="152" y="46"/>
                  <a:pt x="127" y="77"/>
                </a:cubicBezTo>
                <a:cubicBezTo>
                  <a:pt x="103" y="108"/>
                  <a:pt x="84" y="138"/>
                  <a:pt x="71" y="165"/>
                </a:cubicBezTo>
                <a:cubicBezTo>
                  <a:pt x="61" y="172"/>
                  <a:pt x="61" y="172"/>
                  <a:pt x="61" y="172"/>
                </a:cubicBezTo>
                <a:cubicBezTo>
                  <a:pt x="52" y="178"/>
                  <a:pt x="46" y="182"/>
                  <a:pt x="43" y="185"/>
                </a:cubicBezTo>
                <a:cubicBezTo>
                  <a:pt x="42" y="181"/>
                  <a:pt x="39" y="174"/>
                  <a:pt x="35" y="164"/>
                </a:cubicBezTo>
                <a:cubicBezTo>
                  <a:pt x="31" y="154"/>
                  <a:pt x="31" y="154"/>
                  <a:pt x="31" y="154"/>
                </a:cubicBezTo>
                <a:cubicBezTo>
                  <a:pt x="26" y="141"/>
                  <a:pt x="21" y="132"/>
                  <a:pt x="16" y="125"/>
                </a:cubicBezTo>
                <a:cubicBezTo>
                  <a:pt x="11" y="119"/>
                  <a:pt x="6" y="115"/>
                  <a:pt x="0" y="113"/>
                </a:cubicBezTo>
                <a:cubicBezTo>
                  <a:pt x="10" y="102"/>
                  <a:pt x="19" y="97"/>
                  <a:pt x="27" y="97"/>
                </a:cubicBezTo>
                <a:cubicBezTo>
                  <a:pt x="35" y="97"/>
                  <a:pt x="43" y="107"/>
                  <a:pt x="51" y="126"/>
                </a:cubicBezTo>
                <a:cubicBezTo>
                  <a:pt x="56" y="136"/>
                  <a:pt x="56" y="136"/>
                  <a:pt x="56" y="136"/>
                </a:cubicBezTo>
                <a:cubicBezTo>
                  <a:pt x="71" y="109"/>
                  <a:pt x="92" y="83"/>
                  <a:pt x="117" y="58"/>
                </a:cubicBezTo>
                <a:cubicBezTo>
                  <a:pt x="141" y="33"/>
                  <a:pt x="166" y="14"/>
                  <a:pt x="189" y="0"/>
                </a:cubicBezTo>
                <a:close/>
              </a:path>
            </a:pathLst>
          </a:custGeom>
          <a:solidFill>
            <a:srgbClr val="00B050"/>
          </a:solidFill>
          <a:ln>
            <a:noFill/>
          </a:ln>
          <a:extLst/>
        </p:spPr>
        <p:txBody>
          <a:bodyPr/>
          <a:lstStyle/>
          <a:p>
            <a:endParaRPr lang="en"/>
          </a:p>
        </p:txBody>
      </p:sp>
      <p:sp>
        <p:nvSpPr>
          <p:cNvPr id="13"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en" sz="900" b="0" i="0" u="none" baseline="0">
                <a:latin typeface="Arial" pitchFamily="34" charset="0"/>
                <a:cs typeface="Arial" pitchFamily="34" charset="0"/>
              </a:rPr>
              <a:t>H3SE integration kit - TCG 4.1 - Behaviors (positive and negative) – V2</a:t>
            </a:r>
            <a:endParaRPr lang="en" altLang="fr-FR" sz="900" dirty="0" smtClean="0">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Espace réservé du texte 2"/>
          <p:cNvSpPr>
            <a:spLocks noGrp="1"/>
          </p:cNvSpPr>
          <p:nvPr>
            <p:ph type="body" sz="quarter" idx="12"/>
          </p:nvPr>
        </p:nvSpPr>
        <p:spPr>
          <a:xfrm>
            <a:off x="457200" y="1125538"/>
            <a:ext cx="8218488" cy="5040312"/>
          </a:xfrm>
        </p:spPr>
        <p:txBody>
          <a:bodyPr/>
          <a:lstStyle/>
          <a:p>
            <a:pPr algn="l" rtl="0" eaLnBrk="1" hangingPunct="1"/>
            <a:endParaRPr lang="en" altLang="fr-FR" dirty="0" smtClean="0">
              <a:cs typeface="Arial" pitchFamily="34" charset="0"/>
            </a:endParaRPr>
          </a:p>
          <a:p>
            <a:pPr algn="l" rtl="0" eaLnBrk="1" hangingPunct="1"/>
            <a:endParaRPr lang="en" altLang="fr-FR" dirty="0" smtClean="0">
              <a:cs typeface="Arial" pitchFamily="34" charset="0"/>
            </a:endParaRPr>
          </a:p>
          <a:p>
            <a:pPr algn="l" rtl="0" eaLnBrk="1" hangingPunct="1"/>
            <a:r>
              <a:rPr lang="en" b="0" i="0" u="none" baseline="0">
                <a:cs typeface="Arial" pitchFamily="34" charset="0"/>
              </a:rPr>
              <a:t>General feeling that avoiding accidents is innate</a:t>
            </a:r>
          </a:p>
          <a:p>
            <a:pPr algn="l" rtl="0" eaLnBrk="1" hangingPunct="1"/>
            <a:endParaRPr lang="en" altLang="fr-FR" dirty="0" smtClean="0">
              <a:cs typeface="Arial" pitchFamily="34" charset="0"/>
            </a:endParaRPr>
          </a:p>
          <a:p>
            <a:pPr algn="l" rtl="0" eaLnBrk="1" hangingPunct="1"/>
            <a:r>
              <a:rPr lang="en" b="0" i="0" u="none" baseline="0">
                <a:cs typeface="Arial" pitchFamily="34" charset="0"/>
              </a:rPr>
              <a:t>Actually, safe behavior is neither logical nor natural</a:t>
            </a:r>
          </a:p>
          <a:p>
            <a:pPr algn="l" rtl="0" eaLnBrk="1" hangingPunct="1"/>
            <a:endParaRPr lang="en" altLang="fr-FR" dirty="0" smtClean="0">
              <a:cs typeface="Arial" pitchFamily="34" charset="0"/>
            </a:endParaRPr>
          </a:p>
          <a:p>
            <a:pPr algn="l" rtl="0" eaLnBrk="1" hangingPunct="1"/>
            <a:r>
              <a:rPr lang="en" b="0" i="0" u="none" baseline="0">
                <a:cs typeface="Arial" pitchFamily="34" charset="0"/>
              </a:rPr>
              <a:t>Safe behavior is learned</a:t>
            </a:r>
          </a:p>
          <a:p>
            <a:pPr algn="l" rtl="0" eaLnBrk="1" hangingPunct="1"/>
            <a:endParaRPr lang="en" altLang="fr-FR" dirty="0" smtClean="0">
              <a:cs typeface="Arial" pitchFamily="34" charset="0"/>
            </a:endParaRPr>
          </a:p>
          <a:p>
            <a:pPr algn="ctr" rtl="0" eaLnBrk="1" hangingPunct="1">
              <a:buFont typeface="Lucida Grande"/>
              <a:buNone/>
            </a:pPr>
            <a:endParaRPr lang="en" altLang="fr-FR" b="1" dirty="0" smtClean="0">
              <a:solidFill>
                <a:srgbClr val="A90025"/>
              </a:solidFill>
              <a:cs typeface="Arial" pitchFamily="34" charset="0"/>
            </a:endParaRPr>
          </a:p>
          <a:p>
            <a:pPr algn="l" rtl="0" eaLnBrk="1" hangingPunct="1"/>
            <a:endParaRPr lang="en" altLang="fr-FR" dirty="0" smtClean="0">
              <a:cs typeface="Arial" pitchFamily="34" charset="0"/>
            </a:endParaRPr>
          </a:p>
        </p:txBody>
      </p:sp>
      <p:sp>
        <p:nvSpPr>
          <p:cNvPr id="19458"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C4AC712C-06CC-4052-AF11-65B028D9D197}" type="slidenum">
              <a:rPr/>
              <a:pPr algn="r" rtl="0"/>
              <a:t>7</a:t>
            </a:fld>
            <a:endParaRPr lang="en" altLang="fr-FR"/>
          </a:p>
        </p:txBody>
      </p:sp>
      <p:sp>
        <p:nvSpPr>
          <p:cNvPr id="7" name="Rectangle 8"/>
          <p:cNvSpPr>
            <a:spLocks noChangeArrowheads="1"/>
          </p:cNvSpPr>
          <p:nvPr/>
        </p:nvSpPr>
        <p:spPr bwMode="auto">
          <a:xfrm>
            <a:off x="2062956" y="4603194"/>
            <a:ext cx="5006975"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en" altLang="fr-FR" sz="800" b="1" dirty="0" smtClean="0">
              <a:solidFill>
                <a:srgbClr val="A90025"/>
              </a:solidFill>
            </a:endParaRPr>
          </a:p>
          <a:p>
            <a:pPr algn="ctr" rtl="0" eaLnBrk="1" hangingPunct="1">
              <a:spcBef>
                <a:spcPts val="0"/>
              </a:spcBef>
              <a:spcAft>
                <a:spcPts val="0"/>
              </a:spcAft>
              <a:buFont typeface="Lucida Grande"/>
              <a:buNone/>
            </a:pPr>
            <a:r>
              <a:rPr lang="en" sz="2000" b="1" i="0" u="none" baseline="0">
                <a:solidFill>
                  <a:srgbClr val="A90025"/>
                </a:solidFill>
              </a:rPr>
              <a:t>Know the regulations </a:t>
            </a:r>
            <a:r>
              <a:rPr lang="en" sz="2000" b="1" i="0" u="sng" baseline="0">
                <a:solidFill>
                  <a:srgbClr val="A90025"/>
                </a:solidFill>
              </a:rPr>
              <a:t>and</a:t>
            </a:r>
            <a:r>
              <a:rPr lang="en" sz="2000" b="1" i="0" u="none" baseline="0">
                <a:solidFill>
                  <a:srgbClr val="A90025"/>
                </a:solidFill>
              </a:rPr>
              <a:t> apply them</a:t>
            </a:r>
          </a:p>
          <a:p>
            <a:pPr algn="ctr" rtl="0" eaLnBrk="1" hangingPunct="1">
              <a:spcBef>
                <a:spcPts val="0"/>
              </a:spcBef>
              <a:spcAft>
                <a:spcPts val="0"/>
              </a:spcAft>
              <a:buFont typeface="Lucida Grande"/>
              <a:buNone/>
            </a:pPr>
            <a:endParaRPr lang="en" altLang="fr-FR" sz="800" b="1" dirty="0">
              <a:solidFill>
                <a:srgbClr val="A90025"/>
              </a:solidFill>
            </a:endParaRPr>
          </a:p>
        </p:txBody>
      </p:sp>
      <p:sp>
        <p:nvSpPr>
          <p:cNvPr id="2" name="Titre 1"/>
          <p:cNvSpPr>
            <a:spLocks noGrp="1"/>
          </p:cNvSpPr>
          <p:nvPr>
            <p:ph type="title"/>
          </p:nvPr>
        </p:nvSpPr>
        <p:spPr/>
        <p:txBody>
          <a:bodyPr/>
          <a:lstStyle/>
          <a:p>
            <a:pPr algn="l" rtl="0"/>
            <a:r>
              <a:rPr lang="en" b="1" i="0" u="none" baseline="0"/>
              <a:t>Adopt good safety behavior</a:t>
            </a:r>
            <a:endParaRPr lang="en" dirty="0"/>
          </a:p>
        </p:txBody>
      </p:sp>
      <p:sp>
        <p:nvSpPr>
          <p:cNvPr id="8"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en" sz="900" b="0" i="0" u="none" baseline="0">
                <a:latin typeface="Arial" pitchFamily="34" charset="0"/>
                <a:cs typeface="Arial" pitchFamily="34" charset="0"/>
              </a:rPr>
              <a:t>H3SE integration kit - TCG 4.1 - Behaviors (positive and negative) – V2</a:t>
            </a:r>
            <a:endParaRPr lang="en"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rtl="0"/>
            <a:r>
              <a:rPr lang="en" b="1" i="0" u="none" baseline="0"/>
              <a:t>Adopt good safety behavior</a:t>
            </a:r>
          </a:p>
        </p:txBody>
      </p:sp>
      <p:sp>
        <p:nvSpPr>
          <p:cNvPr id="3" name="Espace réservé du texte 2"/>
          <p:cNvSpPr>
            <a:spLocks noGrp="1"/>
          </p:cNvSpPr>
          <p:nvPr>
            <p:ph type="body" sz="quarter" idx="12"/>
          </p:nvPr>
        </p:nvSpPr>
        <p:spPr>
          <a:xfrm>
            <a:off x="457200" y="980728"/>
            <a:ext cx="8218800" cy="5256584"/>
          </a:xfrm>
        </p:spPr>
        <p:txBody>
          <a:bodyPr/>
          <a:lstStyle/>
          <a:p>
            <a:pPr algn="l" rtl="0" eaLnBrk="1" hangingPunct="1">
              <a:buNone/>
            </a:pPr>
            <a:r>
              <a:rPr lang="en" b="0" i="0" u="none" baseline="0">
                <a:cs typeface="Arial" pitchFamily="34" charset="0"/>
              </a:rPr>
              <a:t>For example:</a:t>
            </a:r>
          </a:p>
          <a:p>
            <a:pPr algn="l" rtl="0" eaLnBrk="1" hangingPunct="1">
              <a:buNone/>
            </a:pPr>
            <a:endParaRPr lang="en" altLang="fr-FR" dirty="0">
              <a:cs typeface="Arial" pitchFamily="34" charset="0"/>
            </a:endParaRPr>
          </a:p>
          <a:p>
            <a:pPr algn="l" rtl="0" eaLnBrk="1" hangingPunct="1">
              <a:buNone/>
            </a:pPr>
            <a:endParaRPr lang="en" altLang="fr-FR" dirty="0" smtClean="0">
              <a:cs typeface="Arial" pitchFamily="34" charset="0"/>
            </a:endParaRPr>
          </a:p>
          <a:p>
            <a:pPr algn="l" rtl="0" eaLnBrk="1" hangingPunct="1">
              <a:buNone/>
            </a:pPr>
            <a:endParaRPr lang="en" altLang="fr-FR" dirty="0">
              <a:cs typeface="Arial" pitchFamily="34" charset="0"/>
            </a:endParaRPr>
          </a:p>
          <a:p>
            <a:pPr algn="l" rtl="0" eaLnBrk="1" hangingPunct="1">
              <a:buNone/>
            </a:pPr>
            <a:endParaRPr lang="en" altLang="fr-FR" dirty="0" smtClean="0">
              <a:cs typeface="Arial" pitchFamily="34" charset="0"/>
            </a:endParaRPr>
          </a:p>
          <a:p>
            <a:pPr algn="l" rtl="0" eaLnBrk="1" hangingPunct="1">
              <a:buNone/>
            </a:pPr>
            <a:endParaRPr lang="en" altLang="fr-FR" dirty="0" smtClean="0">
              <a:cs typeface="Arial" pitchFamily="34" charset="0"/>
            </a:endParaRPr>
          </a:p>
          <a:p>
            <a:pPr algn="l" rtl="0" eaLnBrk="1" hangingPunct="1">
              <a:buNone/>
            </a:pPr>
            <a:endParaRPr lang="en" altLang="fr-FR" dirty="0" smtClean="0">
              <a:cs typeface="Arial" pitchFamily="34" charset="0"/>
            </a:endParaRPr>
          </a:p>
          <a:p>
            <a:pPr algn="l" rtl="0" eaLnBrk="1" hangingPunct="1">
              <a:buNone/>
            </a:pPr>
            <a:endParaRPr lang="en" altLang="fr-FR" dirty="0">
              <a:cs typeface="Arial" pitchFamily="34" charset="0"/>
            </a:endParaRPr>
          </a:p>
          <a:p>
            <a:pPr algn="l" rtl="0" eaLnBrk="1" hangingPunct="1">
              <a:spcBef>
                <a:spcPts val="1200"/>
              </a:spcBef>
            </a:pPr>
            <a:r>
              <a:rPr lang="en" b="0" i="0" u="none" baseline="0">
                <a:cs typeface="Arial" pitchFamily="34" charset="0"/>
              </a:rPr>
              <a:t>All drivers know to stop at a red light</a:t>
            </a:r>
          </a:p>
          <a:p>
            <a:pPr algn="l" rtl="0" eaLnBrk="1" hangingPunct="1">
              <a:spcBef>
                <a:spcPts val="1200"/>
              </a:spcBef>
            </a:pPr>
            <a:r>
              <a:rPr lang="en" b="0" i="0" u="none" baseline="0">
                <a:cs typeface="Arial" pitchFamily="34" charset="0"/>
              </a:rPr>
              <a:t>It is neither logical nor natural to stop at a straight line without traffic when there is a red light</a:t>
            </a:r>
          </a:p>
          <a:p>
            <a:pPr algn="l" rtl="0" eaLnBrk="1" hangingPunct="1">
              <a:spcBef>
                <a:spcPts val="1200"/>
              </a:spcBef>
            </a:pPr>
            <a:r>
              <a:rPr lang="en" b="0" i="0" u="none" baseline="0">
                <a:cs typeface="Arial" pitchFamily="34" charset="0"/>
              </a:rPr>
              <a:t>However, we have learned that it is necessary to stop</a:t>
            </a:r>
          </a:p>
          <a:p>
            <a:endParaRPr lang="en" dirty="0"/>
          </a:p>
        </p:txBody>
      </p:sp>
      <p:sp>
        <p:nvSpPr>
          <p:cNvPr id="4" name="Espace réservé du numéro de diapositive 3"/>
          <p:cNvSpPr>
            <a:spLocks noGrp="1"/>
          </p:cNvSpPr>
          <p:nvPr>
            <p:ph type="sldNum" sz="quarter" idx="4294967295"/>
          </p:nvPr>
        </p:nvSpPr>
        <p:spPr>
          <a:xfrm>
            <a:off x="6553200" y="6411913"/>
            <a:ext cx="725488" cy="365125"/>
          </a:xfrm>
          <a:prstGeom prst="rect">
            <a:avLst/>
          </a:prstGeom>
        </p:spPr>
        <p:txBody>
          <a:bodyPr/>
          <a:lstStyle/>
          <a:p>
            <a:pPr algn="r" rtl="0"/>
            <a:fld id="{CE53D222-3A21-41F0-A754-4195D86F7AE3}" type="slidenum">
              <a:rPr/>
              <a:pPr algn="r" rtl="0"/>
              <a:t>8</a:t>
            </a:fld>
            <a:endParaRPr lang="en" altLang="fr-FR"/>
          </a:p>
        </p:txBody>
      </p:sp>
      <p:pic>
        <p:nvPicPr>
          <p:cNvPr id="7" name="Image 6" descr="Image1 copie.jpg"/>
          <p:cNvPicPr>
            <a:picLocks noChangeAspect="1"/>
          </p:cNvPicPr>
          <p:nvPr/>
        </p:nvPicPr>
        <p:blipFill>
          <a:blip r:embed="rId2"/>
          <a:stretch>
            <a:fillRect/>
          </a:stretch>
        </p:blipFill>
        <p:spPr>
          <a:xfrm>
            <a:off x="2411760" y="1124744"/>
            <a:ext cx="4032448" cy="2451728"/>
          </a:xfrm>
          <a:prstGeom prst="rect">
            <a:avLst/>
          </a:prstGeom>
        </p:spPr>
      </p:pic>
      <p:sp>
        <p:nvSpPr>
          <p:cNvPr id="8"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en" sz="900" b="0" i="0" u="none" baseline="0">
                <a:latin typeface="Arial" pitchFamily="34" charset="0"/>
                <a:cs typeface="Arial" pitchFamily="34" charset="0"/>
              </a:rPr>
              <a:t>H3SE integration kit - TCG 4.1 - Behaviors (positive and negative) – V2</a:t>
            </a:r>
            <a:endParaRPr lang="en" altLang="fr-FR" sz="900" dirty="0" smtClean="0">
              <a:latin typeface="Arial" pitchFamily="34" charset="0"/>
              <a:cs typeface="Arial" pitchFamily="34" charset="0"/>
            </a:endParaRPr>
          </a:p>
        </p:txBody>
      </p:sp>
    </p:spTree>
    <p:extLst>
      <p:ext uri="{BB962C8B-B14F-4D97-AF65-F5344CB8AC3E}">
        <p14:creationId xmlns:p14="http://schemas.microsoft.com/office/powerpoint/2010/main" xmlns="" val="10289114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Titre 1"/>
          <p:cNvSpPr>
            <a:spLocks noGrp="1"/>
          </p:cNvSpPr>
          <p:nvPr>
            <p:ph type="title"/>
          </p:nvPr>
        </p:nvSpPr>
        <p:spPr bwMode="auto"/>
        <p:txBody>
          <a:bodyPr wrap="square" numCol="1" anchorCtr="0" compatLnSpc="1">
            <a:prstTxWarp prst="textNoShape">
              <a:avLst/>
            </a:prstTxWarp>
          </a:bodyPr>
          <a:lstStyle/>
          <a:p>
            <a:pPr algn="l" rtl="0" eaLnBrk="1" hangingPunct="1"/>
            <a:r>
              <a:rPr lang="en" b="1" i="0" u="none" cap="none" baseline="0">
                <a:cs typeface="Arial" pitchFamily="34" charset="0"/>
              </a:rPr>
              <a:t>DEALING WITH GOOD BEHAVIORS</a:t>
            </a:r>
          </a:p>
        </p:txBody>
      </p:sp>
      <p:sp>
        <p:nvSpPr>
          <p:cNvPr id="20482" name="Espace réservé du texte 2"/>
          <p:cNvSpPr>
            <a:spLocks noGrp="1"/>
          </p:cNvSpPr>
          <p:nvPr>
            <p:ph type="body" sz="quarter" idx="12"/>
          </p:nvPr>
        </p:nvSpPr>
        <p:spPr>
          <a:xfrm>
            <a:off x="457200" y="1125538"/>
            <a:ext cx="8496000" cy="5040312"/>
          </a:xfrm>
        </p:spPr>
        <p:txBody>
          <a:bodyPr/>
          <a:lstStyle/>
          <a:p>
            <a:pPr marL="0" indent="0" algn="l" rtl="0">
              <a:buFont typeface="Lucida Grande"/>
              <a:buNone/>
            </a:pPr>
            <a:r>
              <a:rPr lang="en" b="1" i="0" u="none" baseline="0" dirty="0">
                <a:cs typeface="Arial" pitchFamily="34" charset="0"/>
              </a:rPr>
              <a:t>Total employees are expected to:</a:t>
            </a:r>
            <a:endParaRPr lang="en" altLang="fr-FR" b="1" dirty="0" smtClean="0">
              <a:cs typeface="Arial" pitchFamily="34" charset="0"/>
            </a:endParaRPr>
          </a:p>
          <a:p>
            <a:pPr marL="0" indent="0" algn="l" rtl="0">
              <a:buFont typeface="Lucida Grande"/>
              <a:buNone/>
            </a:pPr>
            <a:endParaRPr lang="en" altLang="fr-FR" b="1" dirty="0" smtClean="0">
              <a:cs typeface="Arial" pitchFamily="34" charset="0"/>
            </a:endParaRPr>
          </a:p>
          <a:p>
            <a:pPr algn="l" rtl="0"/>
            <a:r>
              <a:rPr lang="en" b="0" i="0" u="none" baseline="0" dirty="0">
                <a:cs typeface="Arial" pitchFamily="34" charset="0"/>
              </a:rPr>
              <a:t>Respect the regulations, have exemplary conduct, responsiveness, etc.</a:t>
            </a:r>
          </a:p>
          <a:p>
            <a:pPr lvl="1" algn="l" rtl="0">
              <a:buFont typeface="Wingdings" charset="2"/>
              <a:buChar char="Ø"/>
            </a:pPr>
            <a:r>
              <a:rPr lang="en" b="0" i="0" u="none" baseline="0" dirty="0">
                <a:cs typeface="Arial" pitchFamily="34" charset="0"/>
              </a:rPr>
              <a:t>Encourage all practices that comply with the regulations on a daily basis</a:t>
            </a:r>
          </a:p>
          <a:p>
            <a:pPr lvl="1" algn="l" rtl="0">
              <a:buFont typeface="Wingdings" charset="2"/>
              <a:buChar char="Ø"/>
            </a:pPr>
            <a:endParaRPr lang="en" altLang="fr-FR" dirty="0" smtClean="0">
              <a:cs typeface="Arial" pitchFamily="34" charset="0"/>
            </a:endParaRPr>
          </a:p>
          <a:p>
            <a:pPr marL="271463" indent="-271463" algn="l" rtl="0"/>
            <a:r>
              <a:rPr lang="en" b="0" i="0" u="none" baseline="0" dirty="0">
                <a:cs typeface="Arial" pitchFamily="34" charset="0"/>
              </a:rPr>
              <a:t>Recognize a proactive attitude</a:t>
            </a:r>
          </a:p>
          <a:p>
            <a:pPr lvl="1" algn="l" rtl="0">
              <a:buFont typeface="Wingdings" charset="2"/>
              <a:buChar char="Ø"/>
            </a:pPr>
            <a:r>
              <a:rPr lang="en" b="0" i="0" u="none" baseline="0" dirty="0">
                <a:cs typeface="Arial" pitchFamily="34" charset="0"/>
              </a:rPr>
              <a:t>Encourage proactive attitudes (initiatives, active contribution, reporting difficulties and suggesting solutions, etc.) rather than just the outcomes</a:t>
            </a:r>
          </a:p>
          <a:p>
            <a:pPr lvl="1" algn="l" rtl="0">
              <a:buFont typeface="Wingdings" charset="2"/>
              <a:buChar char="Ø"/>
            </a:pPr>
            <a:endParaRPr lang="en" altLang="fr-FR" dirty="0" smtClean="0">
              <a:cs typeface="Arial" pitchFamily="34" charset="0"/>
            </a:endParaRPr>
          </a:p>
          <a:p>
            <a:pPr marL="271463" indent="-271463" algn="l" rtl="0"/>
            <a:r>
              <a:rPr lang="en" b="0" i="0" u="none" baseline="0" dirty="0">
                <a:cs typeface="Arial" pitchFamily="34" charset="0"/>
              </a:rPr>
              <a:t>Promote an action or behavior</a:t>
            </a:r>
          </a:p>
          <a:p>
            <a:pPr lvl="1" algn="l" rtl="0">
              <a:buFont typeface="Wingdings" charset="2"/>
              <a:buChar char="Ø"/>
            </a:pPr>
            <a:r>
              <a:rPr lang="en" b="0" i="0" u="none" baseline="0" dirty="0">
                <a:cs typeface="Arial" pitchFamily="34" charset="0"/>
              </a:rPr>
              <a:t>Reward significant actions, exemplary behaviors, etc.</a:t>
            </a:r>
          </a:p>
          <a:p>
            <a:pPr marL="0" indent="0" algn="l" rtl="0">
              <a:buFont typeface="Wingdings" pitchFamily="2" charset="2"/>
              <a:buChar char="Ø"/>
            </a:pPr>
            <a:endParaRPr lang="en" altLang="fr-FR" sz="1600" dirty="0" smtClean="0">
              <a:cs typeface="Arial" pitchFamily="34" charset="0"/>
            </a:endParaRPr>
          </a:p>
        </p:txBody>
      </p:sp>
      <p:sp>
        <p:nvSpPr>
          <p:cNvPr id="20483" name="Espace réservé du numéro de diapositive 3"/>
          <p:cNvSpPr>
            <a:spLocks noGrp="1"/>
          </p:cNvSpPr>
          <p:nvPr>
            <p:ph type="sldNum" sz="quarter" idx="4294967295"/>
          </p:nvPr>
        </p:nvSpPr>
        <p:spPr bwMode="auto">
          <a:xfrm>
            <a:off x="6553200" y="6411913"/>
            <a:ext cx="725488" cy="365125"/>
          </a:xfrm>
          <a:prstGeom prst="rect">
            <a:avLst/>
          </a:prstGeom>
          <a:noFill/>
          <a:ln>
            <a:miter lim="800000"/>
            <a:headEnd/>
            <a:tailEnd/>
          </a:ln>
        </p:spPr>
        <p:txBody>
          <a:bodyPr/>
          <a:lstStyle/>
          <a:p>
            <a:pPr algn="r" rtl="0"/>
            <a:fld id="{CE5E253E-5F0A-4893-9938-A004B9C5954B}" type="slidenum">
              <a:rPr/>
              <a:pPr algn="r" rtl="0"/>
              <a:t>9</a:t>
            </a:fld>
            <a:endParaRPr lang="en" altLang="fr-FR"/>
          </a:p>
        </p:txBody>
      </p:sp>
      <p:sp>
        <p:nvSpPr>
          <p:cNvPr id="6" name="Rectangle 8"/>
          <p:cNvSpPr>
            <a:spLocks noChangeArrowheads="1"/>
          </p:cNvSpPr>
          <p:nvPr/>
        </p:nvSpPr>
        <p:spPr bwMode="auto">
          <a:xfrm>
            <a:off x="1562890" y="5517232"/>
            <a:ext cx="6007107" cy="553998"/>
          </a:xfrm>
          <a:prstGeom prst="rect">
            <a:avLst/>
          </a:prstGeom>
          <a:solidFill>
            <a:schemeClr val="bg1"/>
          </a:solidFill>
          <a:ln w="19050">
            <a:solidFill>
              <a:srgbClr val="BD2B0B"/>
            </a:solidFill>
            <a:miter lim="800000"/>
            <a:headEnd/>
            <a:tailEnd/>
          </a:ln>
        </p:spPr>
        <p:txBody>
          <a:bodyPr wrap="square" lIns="0" tIns="0" rIns="252000" bIns="0" anchor="ctr">
            <a:spAutoFit/>
          </a:bodyPr>
          <a:lstStyle/>
          <a:p>
            <a:pPr algn="ctr" rtl="0" eaLnBrk="1" hangingPunct="1">
              <a:spcBef>
                <a:spcPts val="0"/>
              </a:spcBef>
              <a:spcAft>
                <a:spcPts val="0"/>
              </a:spcAft>
              <a:buFont typeface="Lucida Grande"/>
              <a:buNone/>
            </a:pPr>
            <a:endParaRPr lang="en" altLang="fr-FR" sz="800" b="1" dirty="0" smtClean="0">
              <a:solidFill>
                <a:srgbClr val="A90025"/>
              </a:solidFill>
            </a:endParaRPr>
          </a:p>
          <a:p>
            <a:pPr algn="ctr" rtl="0" eaLnBrk="1" hangingPunct="1">
              <a:spcBef>
                <a:spcPts val="0"/>
              </a:spcBef>
              <a:spcAft>
                <a:spcPts val="0"/>
              </a:spcAft>
              <a:buFont typeface="Lucida Grande"/>
              <a:buNone/>
            </a:pPr>
            <a:r>
              <a:rPr lang="en" sz="2000" b="1" i="0" u="none" baseline="0">
                <a:solidFill>
                  <a:srgbClr val="A90025"/>
                </a:solidFill>
              </a:rPr>
              <a:t>Practice recognition on a daily basis</a:t>
            </a:r>
          </a:p>
          <a:p>
            <a:pPr algn="ctr" rtl="0" eaLnBrk="1" hangingPunct="1">
              <a:spcBef>
                <a:spcPts val="0"/>
              </a:spcBef>
              <a:spcAft>
                <a:spcPts val="0"/>
              </a:spcAft>
              <a:buFont typeface="Lucida Grande"/>
              <a:buNone/>
            </a:pPr>
            <a:endParaRPr lang="en" altLang="fr-FR" sz="800" b="1" dirty="0">
              <a:solidFill>
                <a:srgbClr val="A90025"/>
              </a:solidFill>
            </a:endParaRPr>
          </a:p>
        </p:txBody>
      </p:sp>
      <p:sp>
        <p:nvSpPr>
          <p:cNvPr id="7" name="Espace réservé du pied de page 1"/>
          <p:cNvSpPr>
            <a:spLocks noGrp="1"/>
          </p:cNvSpPr>
          <p:nvPr>
            <p:ph type="ftr" sz="quarter" idx="4294967295"/>
          </p:nvPr>
        </p:nvSpPr>
        <p:spPr>
          <a:xfrm>
            <a:off x="457200" y="6411913"/>
            <a:ext cx="5562600" cy="3651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algn="l" rtl="0"/>
            <a:r>
              <a:rPr lang="en" sz="900" b="0" i="0" u="none" baseline="0">
                <a:latin typeface="Arial" pitchFamily="34" charset="0"/>
                <a:cs typeface="Arial" pitchFamily="34" charset="0"/>
              </a:rPr>
              <a:t>H3SE integration kit - TCG 4.1 - Behaviors (positive and negative) – V2</a:t>
            </a:r>
            <a:endParaRPr lang="en" altLang="fr-FR"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a8fW2NMMUGNFssej4M1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a8fW2NMMUGNFssej4M1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BON6HL22kCCDlfsvXpY5A"/>
</p:tagLst>
</file>

<file path=ppt/theme/theme1.xml><?xml version="1.0" encoding="utf-8"?>
<a:theme xmlns:a="http://schemas.openxmlformats.org/drawingml/2006/main" name="TOTAL-EN-dark red template">
  <a:themeElements>
    <a:clrScheme name="TOTAL CORPO">
      <a:dk1>
        <a:sysClr val="windowText" lastClr="000000"/>
      </a:dk1>
      <a:lt1>
        <a:sysClr val="window" lastClr="FFFFFF"/>
      </a:lt1>
      <a:dk2>
        <a:srgbClr val="707173"/>
      </a:dk2>
      <a:lt2>
        <a:srgbClr val="00A37F"/>
      </a:lt2>
      <a:accent1>
        <a:srgbClr val="4A96CD"/>
      </a:accent1>
      <a:accent2>
        <a:srgbClr val="F39800"/>
      </a:accent2>
      <a:accent3>
        <a:srgbClr val="E20031"/>
      </a:accent3>
      <a:accent4>
        <a:srgbClr val="004494"/>
      </a:accent4>
      <a:accent5>
        <a:srgbClr val="E8561E"/>
      </a:accent5>
      <a:accent6>
        <a:srgbClr val="97B2AD"/>
      </a:accent6>
      <a:hlink>
        <a:srgbClr val="175A99"/>
      </a:hlink>
      <a:folHlink>
        <a:srgbClr val="B12F87"/>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xmlns="" name="EN PPT DARK RED LOGO.pptx" id="{34FDB752-F90B-4A83-A6C4-9F21502A314C}" vid="{6DFEEC28-5B39-4E16-BB71-270AB66A25A6}"/>
    </a:ext>
  </a:ext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TOTAL-EN-dark red template</Template>
  <TotalTime>2</TotalTime>
  <Words>926</Words>
  <Application>Microsoft Office PowerPoint</Application>
  <PresentationFormat>Affichage à l'écran (4:3)</PresentationFormat>
  <Paragraphs>177</Paragraphs>
  <Slides>14</Slides>
  <Notes>7</Notes>
  <HiddenSlides>0</HiddenSlides>
  <MMClips>0</MMClips>
  <ScaleCrop>false</ScaleCrop>
  <HeadingPairs>
    <vt:vector size="4" baseType="variant">
      <vt:variant>
        <vt:lpstr>Thème</vt:lpstr>
      </vt:variant>
      <vt:variant>
        <vt:i4>1</vt:i4>
      </vt:variant>
      <vt:variant>
        <vt:lpstr>Titres des diapositives</vt:lpstr>
      </vt:variant>
      <vt:variant>
        <vt:i4>14</vt:i4>
      </vt:variant>
    </vt:vector>
  </HeadingPairs>
  <TitlesOfParts>
    <vt:vector size="15" baseType="lpstr">
      <vt:lpstr>TOTAL-EN-dark red template</vt:lpstr>
      <vt:lpstr>Behaviors (positive and negative)</vt:lpstr>
      <vt:lpstr>Module objectives</vt:lpstr>
      <vt:lpstr>Feedback video</vt:lpstr>
      <vt:lpstr>The 3 pillars of safety</vt:lpstr>
      <vt:lpstr>Definition of behavior</vt:lpstr>
      <vt:lpstr>Exercise</vt:lpstr>
      <vt:lpstr>Adopt good safety behavior</vt:lpstr>
      <vt:lpstr>Adopt good safety behavior</vt:lpstr>
      <vt:lpstr>DEALING WITH GOOD BEHAVIORS</vt:lpstr>
      <vt:lpstr>Dealing with behavioral deviations</vt:lpstr>
      <vt:lpstr>Behavioral deviations</vt:lpstr>
      <vt:lpstr>Assessment of the type of deviation</vt:lpstr>
      <vt:lpstr>Reaction adapted to the deviation</vt:lpstr>
      <vt:lpstr>summary</vt:lpstr>
    </vt:vector>
  </TitlesOfParts>
  <Company>TOTAL</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haviors (positive and negative)</dc:title>
  <dc:creator>J0489914</dc:creator>
  <cp:lastModifiedBy>J0489914</cp:lastModifiedBy>
  <cp:revision>1</cp:revision>
  <dcterms:created xsi:type="dcterms:W3CDTF">2017-09-22T12:35:23Z</dcterms:created>
  <dcterms:modified xsi:type="dcterms:W3CDTF">2017-09-22T12:37:30Z</dcterms:modified>
</cp:coreProperties>
</file>